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6.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4" r:id="rId5"/>
    <p:sldMasterId id="2147483669" r:id="rId6"/>
    <p:sldMasterId id="2147483680" r:id="rId7"/>
    <p:sldMasterId id="2147483702" r:id="rId8"/>
    <p:sldMasterId id="2147483719" r:id="rId9"/>
    <p:sldMasterId id="2147483725" r:id="rId10"/>
    <p:sldMasterId id="2147483735" r:id="rId11"/>
  </p:sldMasterIdLst>
  <p:notesMasterIdLst>
    <p:notesMasterId r:id="rId35"/>
  </p:notesMasterIdLst>
  <p:sldIdLst>
    <p:sldId id="1011" r:id="rId12"/>
    <p:sldId id="2141411837" r:id="rId13"/>
    <p:sldId id="2141411825" r:id="rId14"/>
    <p:sldId id="991" r:id="rId15"/>
    <p:sldId id="2141411827" r:id="rId16"/>
    <p:sldId id="464" r:id="rId17"/>
    <p:sldId id="2141411114" r:id="rId18"/>
    <p:sldId id="2141411841" r:id="rId19"/>
    <p:sldId id="2141411838" r:id="rId20"/>
    <p:sldId id="2141411118" r:id="rId21"/>
    <p:sldId id="327" r:id="rId22"/>
    <p:sldId id="2141411839" r:id="rId23"/>
    <p:sldId id="2141411842" r:id="rId24"/>
    <p:sldId id="314" r:id="rId25"/>
    <p:sldId id="2141411843" r:id="rId26"/>
    <p:sldId id="2141411844" r:id="rId27"/>
    <p:sldId id="2141411845" r:id="rId28"/>
    <p:sldId id="2141411846" r:id="rId29"/>
    <p:sldId id="2141411832" r:id="rId30"/>
    <p:sldId id="324" r:id="rId31"/>
    <p:sldId id="2141411534" r:id="rId32"/>
    <p:sldId id="2141411840" r:id="rId33"/>
    <p:sldId id="949"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el Zaffran" initials="MZ" lastIdx="1" clrIdx="0">
    <p:extLst>
      <p:ext uri="{19B8F6BF-5375-455C-9EA6-DF929625EA0E}">
        <p15:presenceInfo xmlns:p15="http://schemas.microsoft.com/office/powerpoint/2012/main" userId="8a7ca06df0d4362c"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93FAF12-B6C7-4EFE-ABD9-D3F341F74952}" v="154" dt="2022-10-19T07:38:41.906"/>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801" autoAdjust="0"/>
    <p:restoredTop sz="93792" autoAdjust="0"/>
  </p:normalViewPr>
  <p:slideViewPr>
    <p:cSldViewPr snapToGrid="0" showGuides="1">
      <p:cViewPr varScale="1">
        <p:scale>
          <a:sx n="60" d="100"/>
          <a:sy n="60" d="100"/>
        </p:scale>
        <p:origin x="124" y="2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notesViewPr>
    <p:cSldViewPr snapToGrid="0">
      <p:cViewPr varScale="1">
        <p:scale>
          <a:sx n="51" d="100"/>
          <a:sy n="51" d="100"/>
        </p:scale>
        <p:origin x="2692" y="2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theme" Target="theme/theme1.xml"/><Relationship Id="rId21" Type="http://schemas.openxmlformats.org/officeDocument/2006/relationships/slide" Target="slides/slide10.xml"/><Relationship Id="rId34" Type="http://schemas.openxmlformats.org/officeDocument/2006/relationships/slide" Target="slides/slide23.xml"/><Relationship Id="rId42"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notesMaster" Target="notesMasters/notesMaster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el Zaffran" userId="8a7ca06df0d4362c" providerId="LiveId" clId="{D93FAF12-B6C7-4EFE-ABD9-D3F341F74952}"/>
    <pc:docChg chg="undo custSel delSld modSld sldOrd">
      <pc:chgData name="Michel Zaffran" userId="8a7ca06df0d4362c" providerId="LiveId" clId="{D93FAF12-B6C7-4EFE-ABD9-D3F341F74952}" dt="2022-10-19T07:38:41.906" v="1769" actId="404"/>
      <pc:docMkLst>
        <pc:docMk/>
      </pc:docMkLst>
      <pc:sldChg chg="addSp delSp modSp mod">
        <pc:chgData name="Michel Zaffran" userId="8a7ca06df0d4362c" providerId="LiveId" clId="{D93FAF12-B6C7-4EFE-ABD9-D3F341F74952}" dt="2022-10-18T13:28:27.365" v="526" actId="1076"/>
        <pc:sldMkLst>
          <pc:docMk/>
          <pc:sldMk cId="2733852873" sldId="314"/>
        </pc:sldMkLst>
        <pc:picChg chg="del">
          <ac:chgData name="Michel Zaffran" userId="8a7ca06df0d4362c" providerId="LiveId" clId="{D93FAF12-B6C7-4EFE-ABD9-D3F341F74952}" dt="2022-10-18T13:19:18.108" v="354" actId="478"/>
          <ac:picMkLst>
            <pc:docMk/>
            <pc:sldMk cId="2733852873" sldId="314"/>
            <ac:picMk id="2" creationId="{952D402A-0D1B-4AE8-4B32-2EC840FB64DF}"/>
          </ac:picMkLst>
        </pc:picChg>
        <pc:picChg chg="add del mod">
          <ac:chgData name="Michel Zaffran" userId="8a7ca06df0d4362c" providerId="LiveId" clId="{D93FAF12-B6C7-4EFE-ABD9-D3F341F74952}" dt="2022-10-18T13:24:54.847" v="428" actId="478"/>
          <ac:picMkLst>
            <pc:docMk/>
            <pc:sldMk cId="2733852873" sldId="314"/>
            <ac:picMk id="3" creationId="{26D7E3C5-61F9-BE49-19F0-871C34477314}"/>
          </ac:picMkLst>
        </pc:picChg>
        <pc:picChg chg="add mod">
          <ac:chgData name="Michel Zaffran" userId="8a7ca06df0d4362c" providerId="LiveId" clId="{D93FAF12-B6C7-4EFE-ABD9-D3F341F74952}" dt="2022-10-18T13:25:00.062" v="430" actId="1076"/>
          <ac:picMkLst>
            <pc:docMk/>
            <pc:sldMk cId="2733852873" sldId="314"/>
            <ac:picMk id="4" creationId="{A777C847-BBE4-9BF5-CE4F-89805D931CF8}"/>
          </ac:picMkLst>
        </pc:picChg>
        <pc:picChg chg="add mod">
          <ac:chgData name="Michel Zaffran" userId="8a7ca06df0d4362c" providerId="LiveId" clId="{D93FAF12-B6C7-4EFE-ABD9-D3F341F74952}" dt="2022-10-18T13:28:27.365" v="526" actId="1076"/>
          <ac:picMkLst>
            <pc:docMk/>
            <pc:sldMk cId="2733852873" sldId="314"/>
            <ac:picMk id="13" creationId="{6384CE35-D0E2-81E4-786C-5C0D69C9CCFE}"/>
          </ac:picMkLst>
        </pc:picChg>
        <pc:picChg chg="del">
          <ac:chgData name="Michel Zaffran" userId="8a7ca06df0d4362c" providerId="LiveId" clId="{D93FAF12-B6C7-4EFE-ABD9-D3F341F74952}" dt="2022-10-18T13:28:22.479" v="524" actId="478"/>
          <ac:picMkLst>
            <pc:docMk/>
            <pc:sldMk cId="2733852873" sldId="314"/>
            <ac:picMk id="23" creationId="{794309F6-EDDC-4C9F-910B-A74DB75F9F7A}"/>
          </ac:picMkLst>
        </pc:picChg>
      </pc:sldChg>
      <pc:sldChg chg="addSp delSp modSp mod">
        <pc:chgData name="Michel Zaffran" userId="8a7ca06df0d4362c" providerId="LiveId" clId="{D93FAF12-B6C7-4EFE-ABD9-D3F341F74952}" dt="2022-10-19T07:35:45.040" v="1731" actId="14100"/>
        <pc:sldMkLst>
          <pc:docMk/>
          <pc:sldMk cId="1337542371" sldId="327"/>
        </pc:sldMkLst>
        <pc:spChg chg="mod">
          <ac:chgData name="Michel Zaffran" userId="8a7ca06df0d4362c" providerId="LiveId" clId="{D93FAF12-B6C7-4EFE-ABD9-D3F341F74952}" dt="2022-10-19T07:35:23.063" v="1690" actId="1035"/>
          <ac:spMkLst>
            <pc:docMk/>
            <pc:sldMk cId="1337542371" sldId="327"/>
            <ac:spMk id="2" creationId="{7FE16745-D42B-423D-A0EA-0FEB938AE022}"/>
          </ac:spMkLst>
        </pc:spChg>
        <pc:spChg chg="mod">
          <ac:chgData name="Michel Zaffran" userId="8a7ca06df0d4362c" providerId="LiveId" clId="{D93FAF12-B6C7-4EFE-ABD9-D3F341F74952}" dt="2022-10-19T07:35:45.040" v="1731" actId="14100"/>
          <ac:spMkLst>
            <pc:docMk/>
            <pc:sldMk cId="1337542371" sldId="327"/>
            <ac:spMk id="3" creationId="{6D167CA4-E991-4C10-8C63-9C1F0A7EA5C2}"/>
          </ac:spMkLst>
        </pc:spChg>
        <pc:spChg chg="mod">
          <ac:chgData name="Michel Zaffran" userId="8a7ca06df0d4362c" providerId="LiveId" clId="{D93FAF12-B6C7-4EFE-ABD9-D3F341F74952}" dt="2022-10-19T07:35:28.357" v="1699" actId="1035"/>
          <ac:spMkLst>
            <pc:docMk/>
            <pc:sldMk cId="1337542371" sldId="327"/>
            <ac:spMk id="6" creationId="{EAD3D075-30C8-4D32-863F-ADA2CDEAC2E9}"/>
          </ac:spMkLst>
        </pc:spChg>
        <pc:picChg chg="add mod">
          <ac:chgData name="Michel Zaffran" userId="8a7ca06df0d4362c" providerId="LiveId" clId="{D93FAF12-B6C7-4EFE-ABD9-D3F341F74952}" dt="2022-10-19T07:35:04.063" v="1667"/>
          <ac:picMkLst>
            <pc:docMk/>
            <pc:sldMk cId="1337542371" sldId="327"/>
            <ac:picMk id="4" creationId="{6C35E3DA-5519-8D8A-7404-8FA570F256F4}"/>
          </ac:picMkLst>
        </pc:picChg>
        <pc:picChg chg="del">
          <ac:chgData name="Michel Zaffran" userId="8a7ca06df0d4362c" providerId="LiveId" clId="{D93FAF12-B6C7-4EFE-ABD9-D3F341F74952}" dt="2022-10-18T13:19:07.107" v="350" actId="478"/>
          <ac:picMkLst>
            <pc:docMk/>
            <pc:sldMk cId="1337542371" sldId="327"/>
            <ac:picMk id="4" creationId="{D40DD326-B031-AED8-6E32-178CE7CDD270}"/>
          </ac:picMkLst>
        </pc:picChg>
        <pc:picChg chg="del">
          <ac:chgData name="Michel Zaffran" userId="8a7ca06df0d4362c" providerId="LiveId" clId="{D93FAF12-B6C7-4EFE-ABD9-D3F341F74952}" dt="2022-10-18T13:25:23.243" v="432" actId="478"/>
          <ac:picMkLst>
            <pc:docMk/>
            <pc:sldMk cId="1337542371" sldId="327"/>
            <ac:picMk id="5" creationId="{4C8EEA35-1CFD-4E44-BD6A-C12BB709EDF2}"/>
          </ac:picMkLst>
        </pc:picChg>
        <pc:picChg chg="mod">
          <ac:chgData name="Michel Zaffran" userId="8a7ca06df0d4362c" providerId="LiveId" clId="{D93FAF12-B6C7-4EFE-ABD9-D3F341F74952}" dt="2022-10-19T07:35:33.941" v="1711" actId="1035"/>
          <ac:picMkLst>
            <pc:docMk/>
            <pc:sldMk cId="1337542371" sldId="327"/>
            <ac:picMk id="7" creationId="{5A6A261D-0026-4945-AE64-934E04109685}"/>
          </ac:picMkLst>
        </pc:picChg>
        <pc:picChg chg="add del mod">
          <ac:chgData name="Michel Zaffran" userId="8a7ca06df0d4362c" providerId="LiveId" clId="{D93FAF12-B6C7-4EFE-ABD9-D3F341F74952}" dt="2022-10-18T13:25:27.253" v="433" actId="478"/>
          <ac:picMkLst>
            <pc:docMk/>
            <pc:sldMk cId="1337542371" sldId="327"/>
            <ac:picMk id="8" creationId="{14C9D1AB-1313-7808-3C4C-BD7D5F614F25}"/>
          </ac:picMkLst>
        </pc:picChg>
        <pc:picChg chg="add mod">
          <ac:chgData name="Michel Zaffran" userId="8a7ca06df0d4362c" providerId="LiveId" clId="{D93FAF12-B6C7-4EFE-ABD9-D3F341F74952}" dt="2022-10-19T07:35:13.104" v="1673" actId="1037"/>
          <ac:picMkLst>
            <pc:docMk/>
            <pc:sldMk cId="1337542371" sldId="327"/>
            <ac:picMk id="9" creationId="{67A3BC32-23AD-841D-3975-6A8EF4383A57}"/>
          </ac:picMkLst>
        </pc:picChg>
        <pc:picChg chg="add del mod">
          <ac:chgData name="Michel Zaffran" userId="8a7ca06df0d4362c" providerId="LiveId" clId="{D93FAF12-B6C7-4EFE-ABD9-D3F341F74952}" dt="2022-10-19T07:35:03.110" v="1666" actId="478"/>
          <ac:picMkLst>
            <pc:docMk/>
            <pc:sldMk cId="1337542371" sldId="327"/>
            <ac:picMk id="10" creationId="{A2DFFD2C-89C5-1D79-8F79-28D158BD8EE7}"/>
          </ac:picMkLst>
        </pc:picChg>
      </pc:sldChg>
      <pc:sldChg chg="del">
        <pc:chgData name="Michel Zaffran" userId="8a7ca06df0d4362c" providerId="LiveId" clId="{D93FAF12-B6C7-4EFE-ABD9-D3F341F74952}" dt="2022-10-18T13:30:35.611" v="536" actId="2696"/>
        <pc:sldMkLst>
          <pc:docMk/>
          <pc:sldMk cId="0" sldId="756"/>
        </pc:sldMkLst>
      </pc:sldChg>
      <pc:sldChg chg="del">
        <pc:chgData name="Michel Zaffran" userId="8a7ca06df0d4362c" providerId="LiveId" clId="{D93FAF12-B6C7-4EFE-ABD9-D3F341F74952}" dt="2022-10-18T13:30:35.611" v="536" actId="2696"/>
        <pc:sldMkLst>
          <pc:docMk/>
          <pc:sldMk cId="0" sldId="757"/>
        </pc:sldMkLst>
      </pc:sldChg>
      <pc:sldChg chg="del">
        <pc:chgData name="Michel Zaffran" userId="8a7ca06df0d4362c" providerId="LiveId" clId="{D93FAF12-B6C7-4EFE-ABD9-D3F341F74952}" dt="2022-10-18T13:30:35.611" v="536" actId="2696"/>
        <pc:sldMkLst>
          <pc:docMk/>
          <pc:sldMk cId="0" sldId="758"/>
        </pc:sldMkLst>
      </pc:sldChg>
      <pc:sldChg chg="del">
        <pc:chgData name="Michel Zaffran" userId="8a7ca06df0d4362c" providerId="LiveId" clId="{D93FAF12-B6C7-4EFE-ABD9-D3F341F74952}" dt="2022-10-18T13:30:35.611" v="536" actId="2696"/>
        <pc:sldMkLst>
          <pc:docMk/>
          <pc:sldMk cId="0" sldId="761"/>
        </pc:sldMkLst>
      </pc:sldChg>
      <pc:sldChg chg="del">
        <pc:chgData name="Michel Zaffran" userId="8a7ca06df0d4362c" providerId="LiveId" clId="{D93FAF12-B6C7-4EFE-ABD9-D3F341F74952}" dt="2022-10-18T13:30:35.611" v="536" actId="2696"/>
        <pc:sldMkLst>
          <pc:docMk/>
          <pc:sldMk cId="0" sldId="795"/>
        </pc:sldMkLst>
      </pc:sldChg>
      <pc:sldChg chg="del">
        <pc:chgData name="Michel Zaffran" userId="8a7ca06df0d4362c" providerId="LiveId" clId="{D93FAF12-B6C7-4EFE-ABD9-D3F341F74952}" dt="2022-10-18T13:30:35.611" v="536" actId="2696"/>
        <pc:sldMkLst>
          <pc:docMk/>
          <pc:sldMk cId="0" sldId="836"/>
        </pc:sldMkLst>
      </pc:sldChg>
      <pc:sldChg chg="addSp delSp modSp mod">
        <pc:chgData name="Michel Zaffran" userId="8a7ca06df0d4362c" providerId="LiveId" clId="{D93FAF12-B6C7-4EFE-ABD9-D3F341F74952}" dt="2022-10-19T07:30:25.002" v="1582" actId="20577"/>
        <pc:sldMkLst>
          <pc:docMk/>
          <pc:sldMk cId="2141634785" sldId="949"/>
        </pc:sldMkLst>
        <pc:spChg chg="mod">
          <ac:chgData name="Michel Zaffran" userId="8a7ca06df0d4362c" providerId="LiveId" clId="{D93FAF12-B6C7-4EFE-ABD9-D3F341F74952}" dt="2022-10-19T07:30:25.002" v="1582" actId="20577"/>
          <ac:spMkLst>
            <pc:docMk/>
            <pc:sldMk cId="2141634785" sldId="949"/>
            <ac:spMk id="3075" creationId="{00000000-0000-0000-0000-000000000000}"/>
          </ac:spMkLst>
        </pc:spChg>
        <pc:grpChg chg="del">
          <ac:chgData name="Michel Zaffran" userId="8a7ca06df0d4362c" providerId="LiveId" clId="{D93FAF12-B6C7-4EFE-ABD9-D3F341F74952}" dt="2022-10-18T13:23:56.179" v="394" actId="478"/>
          <ac:grpSpMkLst>
            <pc:docMk/>
            <pc:sldMk cId="2141634785" sldId="949"/>
            <ac:grpSpMk id="7" creationId="{60CEC861-0E9A-450B-9188-EE91A1C927B2}"/>
          </ac:grpSpMkLst>
        </pc:grpChg>
        <pc:picChg chg="del">
          <ac:chgData name="Michel Zaffran" userId="8a7ca06df0d4362c" providerId="LiveId" clId="{D93FAF12-B6C7-4EFE-ABD9-D3F341F74952}" dt="2022-10-18T13:23:53.523" v="393" actId="478"/>
          <ac:picMkLst>
            <pc:docMk/>
            <pc:sldMk cId="2141634785" sldId="949"/>
            <ac:picMk id="2" creationId="{B470397B-633C-C569-C2FC-F35D42243A52}"/>
          </ac:picMkLst>
        </pc:picChg>
        <pc:picChg chg="add mod">
          <ac:chgData name="Michel Zaffran" userId="8a7ca06df0d4362c" providerId="LiveId" clId="{D93FAF12-B6C7-4EFE-ABD9-D3F341F74952}" dt="2022-10-18T13:33:19.897" v="590" actId="1037"/>
          <ac:picMkLst>
            <pc:docMk/>
            <pc:sldMk cId="2141634785" sldId="949"/>
            <ac:picMk id="5" creationId="{D05022FC-8BEB-772B-6044-959EF0B020CC}"/>
          </ac:picMkLst>
        </pc:picChg>
        <pc:picChg chg="add mod">
          <ac:chgData name="Michel Zaffran" userId="8a7ca06df0d4362c" providerId="LiveId" clId="{D93FAF12-B6C7-4EFE-ABD9-D3F341F74952}" dt="2022-10-18T13:33:28.146" v="593" actId="1037"/>
          <ac:picMkLst>
            <pc:docMk/>
            <pc:sldMk cId="2141634785" sldId="949"/>
            <ac:picMk id="6" creationId="{175BE793-B550-BA9C-ABFD-0C59FFD55D3B}"/>
          </ac:picMkLst>
        </pc:picChg>
      </pc:sldChg>
      <pc:sldChg chg="addSp delSp modSp mod">
        <pc:chgData name="Michel Zaffran" userId="8a7ca06df0d4362c" providerId="LiveId" clId="{D93FAF12-B6C7-4EFE-ABD9-D3F341F74952}" dt="2022-10-19T07:31:33.028" v="1592" actId="1037"/>
        <pc:sldMkLst>
          <pc:docMk/>
          <pc:sldMk cId="601175012" sldId="991"/>
        </pc:sldMkLst>
        <pc:picChg chg="del">
          <ac:chgData name="Michel Zaffran" userId="8a7ca06df0d4362c" providerId="LiveId" clId="{D93FAF12-B6C7-4EFE-ABD9-D3F341F74952}" dt="2022-10-18T13:16:44.268" v="282" actId="478"/>
          <ac:picMkLst>
            <pc:docMk/>
            <pc:sldMk cId="601175012" sldId="991"/>
            <ac:picMk id="4" creationId="{B601B603-5AC8-CE72-7CE3-888371853D02}"/>
          </ac:picMkLst>
        </pc:picChg>
        <pc:picChg chg="add mod">
          <ac:chgData name="Michel Zaffran" userId="8a7ca06df0d4362c" providerId="LiveId" clId="{D93FAF12-B6C7-4EFE-ABD9-D3F341F74952}" dt="2022-10-18T13:16:41.802" v="281" actId="1035"/>
          <ac:picMkLst>
            <pc:docMk/>
            <pc:sldMk cId="601175012" sldId="991"/>
            <ac:picMk id="5" creationId="{C8DA745A-CF2B-FD92-74D0-A3924072FB87}"/>
          </ac:picMkLst>
        </pc:picChg>
        <pc:picChg chg="add del mod">
          <ac:chgData name="Michel Zaffran" userId="8a7ca06df0d4362c" providerId="LiveId" clId="{D93FAF12-B6C7-4EFE-ABD9-D3F341F74952}" dt="2022-10-18T13:26:33.456" v="478" actId="478"/>
          <ac:picMkLst>
            <pc:docMk/>
            <pc:sldMk cId="601175012" sldId="991"/>
            <ac:picMk id="6" creationId="{3EBA5453-83F3-B5A3-F80F-4CDD1425C6EC}"/>
          </ac:picMkLst>
        </pc:picChg>
        <pc:picChg chg="del">
          <ac:chgData name="Michel Zaffran" userId="8a7ca06df0d4362c" providerId="LiveId" clId="{D93FAF12-B6C7-4EFE-ABD9-D3F341F74952}" dt="2022-10-18T13:16:32.319" v="273" actId="478"/>
          <ac:picMkLst>
            <pc:docMk/>
            <pc:sldMk cId="601175012" sldId="991"/>
            <ac:picMk id="7" creationId="{735AFA88-9C0C-48C6-9A94-35DE5AF267DD}"/>
          </ac:picMkLst>
        </pc:picChg>
        <pc:picChg chg="add mod">
          <ac:chgData name="Michel Zaffran" userId="8a7ca06df0d4362c" providerId="LiveId" clId="{D93FAF12-B6C7-4EFE-ABD9-D3F341F74952}" dt="2022-10-19T07:31:33.028" v="1592" actId="1037"/>
          <ac:picMkLst>
            <pc:docMk/>
            <pc:sldMk cId="601175012" sldId="991"/>
            <ac:picMk id="9" creationId="{142F8EBD-1AF3-B453-D554-CF38C1B1F31C}"/>
          </ac:picMkLst>
        </pc:picChg>
        <pc:picChg chg="mod">
          <ac:chgData name="Michel Zaffran" userId="8a7ca06df0d4362c" providerId="LiveId" clId="{D93FAF12-B6C7-4EFE-ABD9-D3F341F74952}" dt="2022-10-19T07:31:23.721" v="1591" actId="167"/>
          <ac:picMkLst>
            <pc:docMk/>
            <pc:sldMk cId="601175012" sldId="991"/>
            <ac:picMk id="10243" creationId="{00000000-0000-0000-0000-000000000000}"/>
          </ac:picMkLst>
        </pc:picChg>
      </pc:sldChg>
      <pc:sldChg chg="addSp delSp modSp mod">
        <pc:chgData name="Michel Zaffran" userId="8a7ca06df0d4362c" providerId="LiveId" clId="{D93FAF12-B6C7-4EFE-ABD9-D3F341F74952}" dt="2022-10-19T07:31:07.706" v="1590" actId="6549"/>
        <pc:sldMkLst>
          <pc:docMk/>
          <pc:sldMk cId="2364740614" sldId="1011"/>
        </pc:sldMkLst>
        <pc:spChg chg="mod">
          <ac:chgData name="Michel Zaffran" userId="8a7ca06df0d4362c" providerId="LiveId" clId="{D93FAF12-B6C7-4EFE-ABD9-D3F341F74952}" dt="2022-10-19T07:31:07.706" v="1590" actId="6549"/>
          <ac:spMkLst>
            <pc:docMk/>
            <pc:sldMk cId="2364740614" sldId="1011"/>
            <ac:spMk id="10243" creationId="{00000000-0000-0000-0000-000000000000}"/>
          </ac:spMkLst>
        </pc:spChg>
        <pc:picChg chg="del">
          <ac:chgData name="Michel Zaffran" userId="8a7ca06df0d4362c" providerId="LiveId" clId="{D93FAF12-B6C7-4EFE-ABD9-D3F341F74952}" dt="2022-10-18T13:14:32.216" v="89" actId="478"/>
          <ac:picMkLst>
            <pc:docMk/>
            <pc:sldMk cId="2364740614" sldId="1011"/>
            <ac:picMk id="4" creationId="{56FFDABB-8874-C4A6-35E5-C7713CCC6596}"/>
          </ac:picMkLst>
        </pc:picChg>
        <pc:picChg chg="add del mod">
          <ac:chgData name="Michel Zaffran" userId="8a7ca06df0d4362c" providerId="LiveId" clId="{D93FAF12-B6C7-4EFE-ABD9-D3F341F74952}" dt="2022-10-18T13:27:01.118" v="499" actId="478"/>
          <ac:picMkLst>
            <pc:docMk/>
            <pc:sldMk cId="2364740614" sldId="1011"/>
            <ac:picMk id="5" creationId="{2EB26694-7ED4-4941-17CD-95F79D04C0FE}"/>
          </ac:picMkLst>
        </pc:picChg>
        <pc:picChg chg="add mod">
          <ac:chgData name="Michel Zaffran" userId="8a7ca06df0d4362c" providerId="LiveId" clId="{D93FAF12-B6C7-4EFE-ABD9-D3F341F74952}" dt="2022-10-18T13:27:15.313" v="501" actId="1076"/>
          <ac:picMkLst>
            <pc:docMk/>
            <pc:sldMk cId="2364740614" sldId="1011"/>
            <ac:picMk id="7" creationId="{CD003CA2-69D1-7C6F-05F6-2D2006A6F9F2}"/>
          </ac:picMkLst>
        </pc:picChg>
        <pc:picChg chg="add mod">
          <ac:chgData name="Michel Zaffran" userId="8a7ca06df0d4362c" providerId="LiveId" clId="{D93FAF12-B6C7-4EFE-ABD9-D3F341F74952}" dt="2022-10-18T13:27:01.915" v="500"/>
          <ac:picMkLst>
            <pc:docMk/>
            <pc:sldMk cId="2364740614" sldId="1011"/>
            <ac:picMk id="8" creationId="{C2538C86-85C0-3831-55C2-AC4C239F8339}"/>
          </ac:picMkLst>
        </pc:picChg>
        <pc:picChg chg="del">
          <ac:chgData name="Michel Zaffran" userId="8a7ca06df0d4362c" providerId="LiveId" clId="{D93FAF12-B6C7-4EFE-ABD9-D3F341F74952}" dt="2022-10-18T13:15:02.958" v="102" actId="478"/>
          <ac:picMkLst>
            <pc:docMk/>
            <pc:sldMk cId="2364740614" sldId="1011"/>
            <ac:picMk id="16" creationId="{319E7AE3-11DA-4BA6-AADD-82713B75F0A6}"/>
          </ac:picMkLst>
        </pc:picChg>
      </pc:sldChg>
      <pc:sldChg chg="addSp delSp modSp mod">
        <pc:chgData name="Michel Zaffran" userId="8a7ca06df0d4362c" providerId="LiveId" clId="{D93FAF12-B6C7-4EFE-ABD9-D3F341F74952}" dt="2022-10-18T13:17:44.800" v="314" actId="1035"/>
        <pc:sldMkLst>
          <pc:docMk/>
          <pc:sldMk cId="1861955107" sldId="2141411114"/>
        </pc:sldMkLst>
        <pc:picChg chg="del">
          <ac:chgData name="Michel Zaffran" userId="8a7ca06df0d4362c" providerId="LiveId" clId="{D93FAF12-B6C7-4EFE-ABD9-D3F341F74952}" dt="2022-10-18T13:17:20.705" v="305" actId="478"/>
          <ac:picMkLst>
            <pc:docMk/>
            <pc:sldMk cId="1861955107" sldId="2141411114"/>
            <ac:picMk id="2" creationId="{E2F40B1A-9E29-8F3B-36C2-B54922869FB4}"/>
          </ac:picMkLst>
        </pc:picChg>
        <pc:picChg chg="add mod">
          <ac:chgData name="Michel Zaffran" userId="8a7ca06df0d4362c" providerId="LiveId" clId="{D93FAF12-B6C7-4EFE-ABD9-D3F341F74952}" dt="2022-10-18T13:17:23.308" v="306" actId="1076"/>
          <ac:picMkLst>
            <pc:docMk/>
            <pc:sldMk cId="1861955107" sldId="2141411114"/>
            <ac:picMk id="4" creationId="{6E8400B1-602E-5074-404B-113529ED0647}"/>
          </ac:picMkLst>
        </pc:picChg>
        <pc:picChg chg="add mod">
          <ac:chgData name="Michel Zaffran" userId="8a7ca06df0d4362c" providerId="LiveId" clId="{D93FAF12-B6C7-4EFE-ABD9-D3F341F74952}" dt="2022-10-18T13:17:44.800" v="314" actId="1035"/>
          <ac:picMkLst>
            <pc:docMk/>
            <pc:sldMk cId="1861955107" sldId="2141411114"/>
            <ac:picMk id="6" creationId="{07260CA4-E4FA-46B7-B02D-9CD666785A33}"/>
          </ac:picMkLst>
        </pc:picChg>
        <pc:picChg chg="del">
          <ac:chgData name="Michel Zaffran" userId="8a7ca06df0d4362c" providerId="LiveId" clId="{D93FAF12-B6C7-4EFE-ABD9-D3F341F74952}" dt="2022-10-18T13:17:24.933" v="307" actId="478"/>
          <ac:picMkLst>
            <pc:docMk/>
            <pc:sldMk cId="1861955107" sldId="2141411114"/>
            <ac:picMk id="12" creationId="{D05F0374-CCD5-4E3A-82AF-1DBA5D470E1F}"/>
          </ac:picMkLst>
        </pc:picChg>
      </pc:sldChg>
      <pc:sldChg chg="addSp delSp modSp mod">
        <pc:chgData name="Michel Zaffran" userId="8a7ca06df0d4362c" providerId="LiveId" clId="{D93FAF12-B6C7-4EFE-ABD9-D3F341F74952}" dt="2022-10-19T07:34:23.165" v="1647" actId="1037"/>
        <pc:sldMkLst>
          <pc:docMk/>
          <pc:sldMk cId="1279373758" sldId="2141411118"/>
        </pc:sldMkLst>
        <pc:spChg chg="mod">
          <ac:chgData name="Michel Zaffran" userId="8a7ca06df0d4362c" providerId="LiveId" clId="{D93FAF12-B6C7-4EFE-ABD9-D3F341F74952}" dt="2022-10-19T07:34:17.256" v="1645" actId="403"/>
          <ac:spMkLst>
            <pc:docMk/>
            <pc:sldMk cId="1279373758" sldId="2141411118"/>
            <ac:spMk id="21" creationId="{C888CEF8-EAE0-1441-B489-B06C9C681D17}"/>
          </ac:spMkLst>
        </pc:spChg>
        <pc:picChg chg="del">
          <ac:chgData name="Michel Zaffran" userId="8a7ca06df0d4362c" providerId="LiveId" clId="{D93FAF12-B6C7-4EFE-ABD9-D3F341F74952}" dt="2022-10-18T13:19:01.318" v="348" actId="478"/>
          <ac:picMkLst>
            <pc:docMk/>
            <pc:sldMk cId="1279373758" sldId="2141411118"/>
            <ac:picMk id="2" creationId="{EB3C1C74-CDAA-2B9F-3E82-3965E059B750}"/>
          </ac:picMkLst>
        </pc:picChg>
        <pc:picChg chg="add del mod">
          <ac:chgData name="Michel Zaffran" userId="8a7ca06df0d4362c" providerId="LiveId" clId="{D93FAF12-B6C7-4EFE-ABD9-D3F341F74952}" dt="2022-10-18T13:25:36.735" v="444" actId="478"/>
          <ac:picMkLst>
            <pc:docMk/>
            <pc:sldMk cId="1279373758" sldId="2141411118"/>
            <ac:picMk id="5" creationId="{9FD913EA-669E-47FA-962A-A6809E684A34}"/>
          </ac:picMkLst>
        </pc:picChg>
        <pc:picChg chg="add mod">
          <ac:chgData name="Michel Zaffran" userId="8a7ca06df0d4362c" providerId="LiveId" clId="{D93FAF12-B6C7-4EFE-ABD9-D3F341F74952}" dt="2022-10-18T13:25:45.144" v="458" actId="1036"/>
          <ac:picMkLst>
            <pc:docMk/>
            <pc:sldMk cId="1279373758" sldId="2141411118"/>
            <ac:picMk id="6" creationId="{775F9F81-EA12-6368-1FF6-21E92C3EBC1A}"/>
          </ac:picMkLst>
        </pc:picChg>
        <pc:picChg chg="add mod">
          <ac:chgData name="Michel Zaffran" userId="8a7ca06df0d4362c" providerId="LiveId" clId="{D93FAF12-B6C7-4EFE-ABD9-D3F341F74952}" dt="2022-10-19T07:34:23.165" v="1647" actId="1037"/>
          <ac:picMkLst>
            <pc:docMk/>
            <pc:sldMk cId="1279373758" sldId="2141411118"/>
            <ac:picMk id="7" creationId="{D920EB2E-5F5A-4BD8-3EA5-33CFB6D7D3F3}"/>
          </ac:picMkLst>
        </pc:picChg>
        <pc:picChg chg="del">
          <ac:chgData name="Michel Zaffran" userId="8a7ca06df0d4362c" providerId="LiveId" clId="{D93FAF12-B6C7-4EFE-ABD9-D3F341F74952}" dt="2022-10-18T13:25:40.189" v="446" actId="478"/>
          <ac:picMkLst>
            <pc:docMk/>
            <pc:sldMk cId="1279373758" sldId="2141411118"/>
            <ac:picMk id="8" creationId="{12E0E95D-7D39-49A0-A201-F18E34C1003A}"/>
          </ac:picMkLst>
        </pc:picChg>
      </pc:sldChg>
      <pc:sldChg chg="addSp delSp modSp mod modAnim">
        <pc:chgData name="Michel Zaffran" userId="8a7ca06df0d4362c" providerId="LiveId" clId="{D93FAF12-B6C7-4EFE-ABD9-D3F341F74952}" dt="2022-10-19T07:38:41.906" v="1769" actId="404"/>
        <pc:sldMkLst>
          <pc:docMk/>
          <pc:sldMk cId="1551945171" sldId="2141411534"/>
        </pc:sldMkLst>
        <pc:spChg chg="mod ord">
          <ac:chgData name="Michel Zaffran" userId="8a7ca06df0d4362c" providerId="LiveId" clId="{D93FAF12-B6C7-4EFE-ABD9-D3F341F74952}" dt="2022-10-19T07:38:41.906" v="1769" actId="404"/>
          <ac:spMkLst>
            <pc:docMk/>
            <pc:sldMk cId="1551945171" sldId="2141411534"/>
            <ac:spMk id="2" creationId="{48E52FB6-9A0F-4A42-891B-F6E8A8232A7F}"/>
          </ac:spMkLst>
        </pc:spChg>
        <pc:spChg chg="add mod">
          <ac:chgData name="Michel Zaffran" userId="8a7ca06df0d4362c" providerId="LiveId" clId="{D93FAF12-B6C7-4EFE-ABD9-D3F341F74952}" dt="2022-10-18T13:36:45.923" v="680" actId="164"/>
          <ac:spMkLst>
            <pc:docMk/>
            <pc:sldMk cId="1551945171" sldId="2141411534"/>
            <ac:spMk id="17" creationId="{DB1D34FD-49D2-6FA5-C69C-8290DE560B46}"/>
          </ac:spMkLst>
        </pc:spChg>
        <pc:spChg chg="add mod topLvl">
          <ac:chgData name="Michel Zaffran" userId="8a7ca06df0d4362c" providerId="LiveId" clId="{D93FAF12-B6C7-4EFE-ABD9-D3F341F74952}" dt="2022-10-18T13:39:11.102" v="800" actId="164"/>
          <ac:spMkLst>
            <pc:docMk/>
            <pc:sldMk cId="1551945171" sldId="2141411534"/>
            <ac:spMk id="23" creationId="{F5259196-96A6-6F02-3A46-ABA1F5209680}"/>
          </ac:spMkLst>
        </pc:spChg>
        <pc:spChg chg="add mod">
          <ac:chgData name="Michel Zaffran" userId="8a7ca06df0d4362c" providerId="LiveId" clId="{D93FAF12-B6C7-4EFE-ABD9-D3F341F74952}" dt="2022-10-18T17:17:21.789" v="1578" actId="20577"/>
          <ac:spMkLst>
            <pc:docMk/>
            <pc:sldMk cId="1551945171" sldId="2141411534"/>
            <ac:spMk id="28" creationId="{DC52FE3F-C3C7-11D8-92BB-1A9E27BCB590}"/>
          </ac:spMkLst>
        </pc:spChg>
        <pc:grpChg chg="add mod">
          <ac:chgData name="Michel Zaffran" userId="8a7ca06df0d4362c" providerId="LiveId" clId="{D93FAF12-B6C7-4EFE-ABD9-D3F341F74952}" dt="2022-10-19T07:30:30.832" v="1583" actId="1076"/>
          <ac:grpSpMkLst>
            <pc:docMk/>
            <pc:sldMk cId="1551945171" sldId="2141411534"/>
            <ac:grpSpMk id="18" creationId="{A383CA04-3182-9BC9-C373-970C23368D02}"/>
          </ac:grpSpMkLst>
        </pc:grpChg>
        <pc:grpChg chg="add del mod">
          <ac:chgData name="Michel Zaffran" userId="8a7ca06df0d4362c" providerId="LiveId" clId="{D93FAF12-B6C7-4EFE-ABD9-D3F341F74952}" dt="2022-10-18T13:39:00.653" v="797" actId="165"/>
          <ac:grpSpMkLst>
            <pc:docMk/>
            <pc:sldMk cId="1551945171" sldId="2141411534"/>
            <ac:grpSpMk id="24" creationId="{6EBC5B1F-B90C-33B6-40BC-3A6038F3140F}"/>
          </ac:grpSpMkLst>
        </pc:grpChg>
        <pc:grpChg chg="add mod">
          <ac:chgData name="Michel Zaffran" userId="8a7ca06df0d4362c" providerId="LiveId" clId="{D93FAF12-B6C7-4EFE-ABD9-D3F341F74952}" dt="2022-10-19T07:37:08.435" v="1737" actId="1076"/>
          <ac:grpSpMkLst>
            <pc:docMk/>
            <pc:sldMk cId="1551945171" sldId="2141411534"/>
            <ac:grpSpMk id="25" creationId="{71217047-E1D0-1644-3376-EE0E7CAA46F3}"/>
          </ac:grpSpMkLst>
        </pc:grpChg>
        <pc:grpChg chg="add mod">
          <ac:chgData name="Michel Zaffran" userId="8a7ca06df0d4362c" providerId="LiveId" clId="{D93FAF12-B6C7-4EFE-ABD9-D3F341F74952}" dt="2022-10-19T07:37:13.684" v="1738" actId="1076"/>
          <ac:grpSpMkLst>
            <pc:docMk/>
            <pc:sldMk cId="1551945171" sldId="2141411534"/>
            <ac:grpSpMk id="29" creationId="{E22CECE6-3816-67F3-10CC-C646FC6C8864}"/>
          </ac:grpSpMkLst>
        </pc:grpChg>
        <pc:picChg chg="del">
          <ac:chgData name="Michel Zaffran" userId="8a7ca06df0d4362c" providerId="LiveId" clId="{D93FAF12-B6C7-4EFE-ABD9-D3F341F74952}" dt="2022-10-18T13:19:52.214" v="361" actId="478"/>
          <ac:picMkLst>
            <pc:docMk/>
            <pc:sldMk cId="1551945171" sldId="2141411534"/>
            <ac:picMk id="4" creationId="{E0BDB9DF-1041-68FD-E4F0-1C2D6E42FC20}"/>
          </ac:picMkLst>
        </pc:picChg>
        <pc:picChg chg="add del mod">
          <ac:chgData name="Michel Zaffran" userId="8a7ca06df0d4362c" providerId="LiveId" clId="{D93FAF12-B6C7-4EFE-ABD9-D3F341F74952}" dt="2022-10-18T13:24:29.194" v="400" actId="478"/>
          <ac:picMkLst>
            <pc:docMk/>
            <pc:sldMk cId="1551945171" sldId="2141411534"/>
            <ac:picMk id="5" creationId="{CCFC11F0-AE67-4E63-6D1E-33BAB74C42B1}"/>
          </ac:picMkLst>
        </pc:picChg>
        <pc:picChg chg="add mod">
          <ac:chgData name="Michel Zaffran" userId="8a7ca06df0d4362c" providerId="LiveId" clId="{D93FAF12-B6C7-4EFE-ABD9-D3F341F74952}" dt="2022-10-18T13:36:45.923" v="680" actId="164"/>
          <ac:picMkLst>
            <pc:docMk/>
            <pc:sldMk cId="1551945171" sldId="2141411534"/>
            <ac:picMk id="7" creationId="{32DC8FE6-182F-A521-7561-1B050C936A1E}"/>
          </ac:picMkLst>
        </pc:picChg>
        <pc:picChg chg="mod topLvl">
          <ac:chgData name="Michel Zaffran" userId="8a7ca06df0d4362c" providerId="LiveId" clId="{D93FAF12-B6C7-4EFE-ABD9-D3F341F74952}" dt="2022-10-18T13:39:11.102" v="800" actId="164"/>
          <ac:picMkLst>
            <pc:docMk/>
            <pc:sldMk cId="1551945171" sldId="2141411534"/>
            <ac:picMk id="8" creationId="{8F506CB7-873D-409C-8DF6-8AE504ABEAC6}"/>
          </ac:picMkLst>
        </pc:picChg>
        <pc:picChg chg="mod">
          <ac:chgData name="Michel Zaffran" userId="8a7ca06df0d4362c" providerId="LiveId" clId="{D93FAF12-B6C7-4EFE-ABD9-D3F341F74952}" dt="2022-10-18T13:36:06.254" v="642" actId="1076"/>
          <ac:picMkLst>
            <pc:docMk/>
            <pc:sldMk cId="1551945171" sldId="2141411534"/>
            <ac:picMk id="10" creationId="{FA0AFEDE-B6DD-4649-9C49-A1B1F9B75BF4}"/>
          </ac:picMkLst>
        </pc:picChg>
        <pc:picChg chg="mod">
          <ac:chgData name="Michel Zaffran" userId="8a7ca06df0d4362c" providerId="LiveId" clId="{D93FAF12-B6C7-4EFE-ABD9-D3F341F74952}" dt="2022-10-18T17:17:07.691" v="1550" actId="20577"/>
          <ac:picMkLst>
            <pc:docMk/>
            <pc:sldMk cId="1551945171" sldId="2141411534"/>
            <ac:picMk id="11" creationId="{9AAF57BD-FCF1-44D2-92A5-85B26F60064C}"/>
          </ac:picMkLst>
        </pc:picChg>
        <pc:picChg chg="add del mod">
          <ac:chgData name="Michel Zaffran" userId="8a7ca06df0d4362c" providerId="LiveId" clId="{D93FAF12-B6C7-4EFE-ABD9-D3F341F74952}" dt="2022-10-18T13:23:08.949" v="378" actId="478"/>
          <ac:picMkLst>
            <pc:docMk/>
            <pc:sldMk cId="1551945171" sldId="2141411534"/>
            <ac:picMk id="12" creationId="{2D987BEF-474A-B13C-C9D0-786125953684}"/>
          </ac:picMkLst>
        </pc:picChg>
        <pc:picChg chg="add del mod">
          <ac:chgData name="Michel Zaffran" userId="8a7ca06df0d4362c" providerId="LiveId" clId="{D93FAF12-B6C7-4EFE-ABD9-D3F341F74952}" dt="2022-10-18T13:23:11.637" v="379" actId="478"/>
          <ac:picMkLst>
            <pc:docMk/>
            <pc:sldMk cId="1551945171" sldId="2141411534"/>
            <ac:picMk id="14" creationId="{4960FA40-F5C1-2336-EE85-B96301C6C16B}"/>
          </ac:picMkLst>
        </pc:picChg>
        <pc:picChg chg="add mod">
          <ac:chgData name="Michel Zaffran" userId="8a7ca06df0d4362c" providerId="LiveId" clId="{D93FAF12-B6C7-4EFE-ABD9-D3F341F74952}" dt="2022-10-18T13:24:32.305" v="401" actId="1076"/>
          <ac:picMkLst>
            <pc:docMk/>
            <pc:sldMk cId="1551945171" sldId="2141411534"/>
            <ac:picMk id="15" creationId="{0FA87782-85EB-8135-575C-D59B20BF2D0D}"/>
          </ac:picMkLst>
        </pc:picChg>
        <pc:picChg chg="add mod">
          <ac:chgData name="Michel Zaffran" userId="8a7ca06df0d4362c" providerId="LiveId" clId="{D93FAF12-B6C7-4EFE-ABD9-D3F341F74952}" dt="2022-10-18T13:28:51.046" v="535" actId="1076"/>
          <ac:picMkLst>
            <pc:docMk/>
            <pc:sldMk cId="1551945171" sldId="2141411534"/>
            <ac:picMk id="16" creationId="{DD9DB8EC-329A-2DD5-1BF9-7D2C80B13632}"/>
          </ac:picMkLst>
        </pc:picChg>
        <pc:picChg chg="del">
          <ac:chgData name="Michel Zaffran" userId="8a7ca06df0d4362c" providerId="LiveId" clId="{D93FAF12-B6C7-4EFE-ABD9-D3F341F74952}" dt="2022-10-18T13:28:46.152" v="533" actId="478"/>
          <ac:picMkLst>
            <pc:docMk/>
            <pc:sldMk cId="1551945171" sldId="2141411534"/>
            <ac:picMk id="22" creationId="{6E3E198C-CDEC-473D-B0E2-E83A35410EA4}"/>
          </ac:picMkLst>
        </pc:picChg>
        <pc:picChg chg="add mod">
          <ac:chgData name="Michel Zaffran" userId="8a7ca06df0d4362c" providerId="LiveId" clId="{D93FAF12-B6C7-4EFE-ABD9-D3F341F74952}" dt="2022-10-18T17:17:07.691" v="1550" actId="20577"/>
          <ac:picMkLst>
            <pc:docMk/>
            <pc:sldMk cId="1551945171" sldId="2141411534"/>
            <ac:picMk id="27" creationId="{CF117C12-811A-FEF6-685F-E218C8C8FA65}"/>
          </ac:picMkLst>
        </pc:picChg>
      </pc:sldChg>
      <pc:sldChg chg="addSp delSp modSp mod">
        <pc:chgData name="Michel Zaffran" userId="8a7ca06df0d4362c" providerId="LiveId" clId="{D93FAF12-B6C7-4EFE-ABD9-D3F341F74952}" dt="2022-10-18T13:26:46.222" v="495" actId="1038"/>
        <pc:sldMkLst>
          <pc:docMk/>
          <pc:sldMk cId="3049581601" sldId="2141411825"/>
        </pc:sldMkLst>
        <pc:picChg chg="del">
          <ac:chgData name="Michel Zaffran" userId="8a7ca06df0d4362c" providerId="LiveId" clId="{D93FAF12-B6C7-4EFE-ABD9-D3F341F74952}" dt="2022-10-18T13:16:08.564" v="265" actId="478"/>
          <ac:picMkLst>
            <pc:docMk/>
            <pc:sldMk cId="3049581601" sldId="2141411825"/>
            <ac:picMk id="3" creationId="{737A6661-8DEE-4F82-BA7A-C93609521257}"/>
          </ac:picMkLst>
        </pc:picChg>
        <pc:picChg chg="del">
          <ac:chgData name="Michel Zaffran" userId="8a7ca06df0d4362c" providerId="LiveId" clId="{D93FAF12-B6C7-4EFE-ABD9-D3F341F74952}" dt="2022-10-18T13:15:56.786" v="262" actId="478"/>
          <ac:picMkLst>
            <pc:docMk/>
            <pc:sldMk cId="3049581601" sldId="2141411825"/>
            <ac:picMk id="6" creationId="{00080674-FCE1-D595-87EF-88EBE27FBAA4}"/>
          </ac:picMkLst>
        </pc:picChg>
        <pc:picChg chg="add del mod">
          <ac:chgData name="Michel Zaffran" userId="8a7ca06df0d4362c" providerId="LiveId" clId="{D93FAF12-B6C7-4EFE-ABD9-D3F341F74952}" dt="2022-10-18T13:26:43.377" v="484" actId="478"/>
          <ac:picMkLst>
            <pc:docMk/>
            <pc:sldMk cId="3049581601" sldId="2141411825"/>
            <ac:picMk id="7" creationId="{55458620-4D00-6A51-6CCE-71B5504CC114}"/>
          </ac:picMkLst>
        </pc:picChg>
        <pc:picChg chg="add mod">
          <ac:chgData name="Michel Zaffran" userId="8a7ca06df0d4362c" providerId="LiveId" clId="{D93FAF12-B6C7-4EFE-ABD9-D3F341F74952}" dt="2022-10-18T13:16:24.578" v="271" actId="1076"/>
          <ac:picMkLst>
            <pc:docMk/>
            <pc:sldMk cId="3049581601" sldId="2141411825"/>
            <ac:picMk id="8" creationId="{318F3D48-62B2-F0A0-6727-06912F56614A}"/>
          </ac:picMkLst>
        </pc:picChg>
        <pc:picChg chg="add mod">
          <ac:chgData name="Michel Zaffran" userId="8a7ca06df0d4362c" providerId="LiveId" clId="{D93FAF12-B6C7-4EFE-ABD9-D3F341F74952}" dt="2022-10-18T13:26:46.222" v="495" actId="1038"/>
          <ac:picMkLst>
            <pc:docMk/>
            <pc:sldMk cId="3049581601" sldId="2141411825"/>
            <ac:picMk id="9" creationId="{2C98BE1B-8513-DF4D-963C-80A4DCC72F7D}"/>
          </ac:picMkLst>
        </pc:picChg>
      </pc:sldChg>
      <pc:sldChg chg="modSp mod">
        <pc:chgData name="Michel Zaffran" userId="8a7ca06df0d4362c" providerId="LiveId" clId="{D93FAF12-B6C7-4EFE-ABD9-D3F341F74952}" dt="2022-10-19T07:31:47.483" v="1593" actId="20577"/>
        <pc:sldMkLst>
          <pc:docMk/>
          <pc:sldMk cId="2646541737" sldId="2141411827"/>
        </pc:sldMkLst>
        <pc:spChg chg="mod">
          <ac:chgData name="Michel Zaffran" userId="8a7ca06df0d4362c" providerId="LiveId" clId="{D93FAF12-B6C7-4EFE-ABD9-D3F341F74952}" dt="2022-10-19T07:31:47.483" v="1593" actId="20577"/>
          <ac:spMkLst>
            <pc:docMk/>
            <pc:sldMk cId="2646541737" sldId="2141411827"/>
            <ac:spMk id="37899" creationId="{00000000-0000-0000-0000-000000000000}"/>
          </ac:spMkLst>
        </pc:spChg>
      </pc:sldChg>
      <pc:sldChg chg="addSp delSp modSp mod delAnim modAnim">
        <pc:chgData name="Michel Zaffran" userId="8a7ca06df0d4362c" providerId="LiveId" clId="{D93FAF12-B6C7-4EFE-ABD9-D3F341F74952}" dt="2022-10-19T07:30:42.010" v="1586" actId="20577"/>
        <pc:sldMkLst>
          <pc:docMk/>
          <pc:sldMk cId="3048108950" sldId="2141411832"/>
        </pc:sldMkLst>
        <pc:spChg chg="add mod">
          <ac:chgData name="Michel Zaffran" userId="8a7ca06df0d4362c" providerId="LiveId" clId="{D93FAF12-B6C7-4EFE-ABD9-D3F341F74952}" dt="2022-10-19T07:30:42.010" v="1586" actId="20577"/>
          <ac:spMkLst>
            <pc:docMk/>
            <pc:sldMk cId="3048108950" sldId="2141411832"/>
            <ac:spMk id="4" creationId="{E37C7DB4-1BAD-FAF6-FC84-5085B54142D5}"/>
          </ac:spMkLst>
        </pc:spChg>
        <pc:spChg chg="del">
          <ac:chgData name="Michel Zaffran" userId="8a7ca06df0d4362c" providerId="LiveId" clId="{D93FAF12-B6C7-4EFE-ABD9-D3F341F74952}" dt="2022-10-19T07:17:09.005" v="1579" actId="478"/>
          <ac:spMkLst>
            <pc:docMk/>
            <pc:sldMk cId="3048108950" sldId="2141411832"/>
            <ac:spMk id="7" creationId="{4C27AA0E-6D52-BBCD-0FE9-4D0C51067DB4}"/>
          </ac:spMkLst>
        </pc:spChg>
        <pc:picChg chg="add del mod">
          <ac:chgData name="Michel Zaffran" userId="8a7ca06df0d4362c" providerId="LiveId" clId="{D93FAF12-B6C7-4EFE-ABD9-D3F341F74952}" dt="2022-10-18T13:24:40.865" v="403" actId="478"/>
          <ac:picMkLst>
            <pc:docMk/>
            <pc:sldMk cId="3048108950" sldId="2141411832"/>
            <ac:picMk id="4" creationId="{182BB46E-5B02-3C44-2020-D3F0859C619B}"/>
          </ac:picMkLst>
        </pc:picChg>
        <pc:picChg chg="add mod">
          <ac:chgData name="Michel Zaffran" userId="8a7ca06df0d4362c" providerId="LiveId" clId="{D93FAF12-B6C7-4EFE-ABD9-D3F341F74952}" dt="2022-10-18T13:24:49.473" v="427" actId="1037"/>
          <ac:picMkLst>
            <pc:docMk/>
            <pc:sldMk cId="3048108950" sldId="2141411832"/>
            <ac:picMk id="5" creationId="{C42FA18F-F01C-B356-A410-23941F7AB247}"/>
          </ac:picMkLst>
        </pc:picChg>
        <pc:picChg chg="del">
          <ac:chgData name="Michel Zaffran" userId="8a7ca06df0d4362c" providerId="LiveId" clId="{D93FAF12-B6C7-4EFE-ABD9-D3F341F74952}" dt="2022-10-18T13:19:31.969" v="357" actId="478"/>
          <ac:picMkLst>
            <pc:docMk/>
            <pc:sldMk cId="3048108950" sldId="2141411832"/>
            <ac:picMk id="6" creationId="{2D28669C-7901-83E1-AD9E-6FB07D1B93B5}"/>
          </ac:picMkLst>
        </pc:picChg>
        <pc:picChg chg="del mod">
          <ac:chgData name="Michel Zaffran" userId="8a7ca06df0d4362c" providerId="LiveId" clId="{D93FAF12-B6C7-4EFE-ABD9-D3F341F74952}" dt="2022-10-18T13:19:44.238" v="360" actId="478"/>
          <ac:picMkLst>
            <pc:docMk/>
            <pc:sldMk cId="3048108950" sldId="2141411832"/>
            <ac:picMk id="8" creationId="{34C2E54F-60E0-45A4-99FA-8522B6DCB431}"/>
          </ac:picMkLst>
        </pc:picChg>
        <pc:picChg chg="add mod">
          <ac:chgData name="Michel Zaffran" userId="8a7ca06df0d4362c" providerId="LiveId" clId="{D93FAF12-B6C7-4EFE-ABD9-D3F341F74952}" dt="2022-10-18T13:28:39.674" v="532" actId="1036"/>
          <ac:picMkLst>
            <pc:docMk/>
            <pc:sldMk cId="3048108950" sldId="2141411832"/>
            <ac:picMk id="10" creationId="{62F6BD66-B5BF-8F99-BDFE-14B01491C9EE}"/>
          </ac:picMkLst>
        </pc:picChg>
      </pc:sldChg>
      <pc:sldChg chg="addSp delSp modSp mod">
        <pc:chgData name="Michel Zaffran" userId="8a7ca06df0d4362c" providerId="LiveId" clId="{D93FAF12-B6C7-4EFE-ABD9-D3F341F74952}" dt="2022-10-18T13:26:56.636" v="498" actId="1076"/>
        <pc:sldMkLst>
          <pc:docMk/>
          <pc:sldMk cId="3433029805" sldId="2141411837"/>
        </pc:sldMkLst>
        <pc:picChg chg="del">
          <ac:chgData name="Michel Zaffran" userId="8a7ca06df0d4362c" providerId="LiveId" clId="{D93FAF12-B6C7-4EFE-ABD9-D3F341F74952}" dt="2022-10-18T13:15:29.662" v="108" actId="478"/>
          <ac:picMkLst>
            <pc:docMk/>
            <pc:sldMk cId="3433029805" sldId="2141411837"/>
            <ac:picMk id="3" creationId="{05ABEF8C-2B81-FF48-EF4A-59926626E4BC}"/>
          </ac:picMkLst>
        </pc:picChg>
        <pc:picChg chg="add del mod">
          <ac:chgData name="Michel Zaffran" userId="8a7ca06df0d4362c" providerId="LiveId" clId="{D93FAF12-B6C7-4EFE-ABD9-D3F341F74952}" dt="2022-10-18T13:26:51.789" v="496" actId="478"/>
          <ac:picMkLst>
            <pc:docMk/>
            <pc:sldMk cId="3433029805" sldId="2141411837"/>
            <ac:picMk id="5" creationId="{55CC3E33-9877-1513-2762-EE0B31FD5FB4}"/>
          </ac:picMkLst>
        </pc:picChg>
        <pc:picChg chg="add mod">
          <ac:chgData name="Michel Zaffran" userId="8a7ca06df0d4362c" providerId="LiveId" clId="{D93FAF12-B6C7-4EFE-ABD9-D3F341F74952}" dt="2022-10-18T13:26:56.636" v="498" actId="1076"/>
          <ac:picMkLst>
            <pc:docMk/>
            <pc:sldMk cId="3433029805" sldId="2141411837"/>
            <ac:picMk id="7" creationId="{D21AEC4F-EF18-8B31-5518-06296894D807}"/>
          </ac:picMkLst>
        </pc:picChg>
      </pc:sldChg>
      <pc:sldChg chg="addSp delSp modSp mod">
        <pc:chgData name="Michel Zaffran" userId="8a7ca06df0d4362c" providerId="LiveId" clId="{D93FAF12-B6C7-4EFE-ABD9-D3F341F74952}" dt="2022-10-18T17:08:30.528" v="1094" actId="1035"/>
        <pc:sldMkLst>
          <pc:docMk/>
          <pc:sldMk cId="1675447509" sldId="2141411838"/>
        </pc:sldMkLst>
        <pc:spChg chg="add del mod">
          <ac:chgData name="Michel Zaffran" userId="8a7ca06df0d4362c" providerId="LiveId" clId="{D93FAF12-B6C7-4EFE-ABD9-D3F341F74952}" dt="2022-10-18T17:08:30.528" v="1094" actId="1035"/>
          <ac:spMkLst>
            <pc:docMk/>
            <pc:sldMk cId="1675447509" sldId="2141411838"/>
            <ac:spMk id="11" creationId="{4186F442-72F3-4ED8-A2FD-5D6D710C8B6B}"/>
          </ac:spMkLst>
        </pc:spChg>
        <pc:spChg chg="mod">
          <ac:chgData name="Michel Zaffran" userId="8a7ca06df0d4362c" providerId="LiveId" clId="{D93FAF12-B6C7-4EFE-ABD9-D3F341F74952}" dt="2022-10-18T17:06:05.421" v="1038" actId="164"/>
          <ac:spMkLst>
            <pc:docMk/>
            <pc:sldMk cId="1675447509" sldId="2141411838"/>
            <ac:spMk id="14" creationId="{166E5757-07FF-4F44-B11E-6FCF4C69BE41}"/>
          </ac:spMkLst>
        </pc:spChg>
        <pc:spChg chg="mod">
          <ac:chgData name="Michel Zaffran" userId="8a7ca06df0d4362c" providerId="LiveId" clId="{D93FAF12-B6C7-4EFE-ABD9-D3F341F74952}" dt="2022-10-18T17:06:05.421" v="1038" actId="164"/>
          <ac:spMkLst>
            <pc:docMk/>
            <pc:sldMk cId="1675447509" sldId="2141411838"/>
            <ac:spMk id="15" creationId="{15D4BA48-E083-744A-AF05-A59443522C28}"/>
          </ac:spMkLst>
        </pc:spChg>
        <pc:grpChg chg="add mod">
          <ac:chgData name="Michel Zaffran" userId="8a7ca06df0d4362c" providerId="LiveId" clId="{D93FAF12-B6C7-4EFE-ABD9-D3F341F74952}" dt="2022-10-18T17:06:14.257" v="1039" actId="1076"/>
          <ac:grpSpMkLst>
            <pc:docMk/>
            <pc:sldMk cId="1675447509" sldId="2141411838"/>
            <ac:grpSpMk id="10" creationId="{71A5668B-E2D9-325D-134F-D4097D82B248}"/>
          </ac:grpSpMkLst>
        </pc:grpChg>
        <pc:picChg chg="del">
          <ac:chgData name="Michel Zaffran" userId="8a7ca06df0d4362c" providerId="LiveId" clId="{D93FAF12-B6C7-4EFE-ABD9-D3F341F74952}" dt="2022-10-18T13:18:26.828" v="338" actId="478"/>
          <ac:picMkLst>
            <pc:docMk/>
            <pc:sldMk cId="1675447509" sldId="2141411838"/>
            <ac:picMk id="2" creationId="{2809A3E4-F878-C92A-A363-90647D53974B}"/>
          </ac:picMkLst>
        </pc:picChg>
        <pc:picChg chg="del">
          <ac:chgData name="Michel Zaffran" userId="8a7ca06df0d4362c" providerId="LiveId" clId="{D93FAF12-B6C7-4EFE-ABD9-D3F341F74952}" dt="2022-10-18T13:48:40.465" v="961" actId="478"/>
          <ac:picMkLst>
            <pc:docMk/>
            <pc:sldMk cId="1675447509" sldId="2141411838"/>
            <ac:picMk id="3" creationId="{498A627B-F4A4-4364-9375-2F7C892AADB3}"/>
          </ac:picMkLst>
        </pc:picChg>
        <pc:picChg chg="add mod">
          <ac:chgData name="Michel Zaffran" userId="8a7ca06df0d4362c" providerId="LiveId" clId="{D93FAF12-B6C7-4EFE-ABD9-D3F341F74952}" dt="2022-10-18T13:26:07.164" v="463" actId="1036"/>
          <ac:picMkLst>
            <pc:docMk/>
            <pc:sldMk cId="1675447509" sldId="2141411838"/>
            <ac:picMk id="4" creationId="{F3738304-6514-4B88-F913-2F64136EDDE9}"/>
          </ac:picMkLst>
        </pc:picChg>
        <pc:picChg chg="add del mod">
          <ac:chgData name="Michel Zaffran" userId="8a7ca06df0d4362c" providerId="LiveId" clId="{D93FAF12-B6C7-4EFE-ABD9-D3F341F74952}" dt="2022-10-18T13:25:53.053" v="459" actId="478"/>
          <ac:picMkLst>
            <pc:docMk/>
            <pc:sldMk cId="1675447509" sldId="2141411838"/>
            <ac:picMk id="5" creationId="{C0C3C1A1-29ED-1E25-A9AB-0D57261F3ED1}"/>
          </ac:picMkLst>
        </pc:picChg>
        <pc:picChg chg="add mod">
          <ac:chgData name="Michel Zaffran" userId="8a7ca06df0d4362c" providerId="LiveId" clId="{D93FAF12-B6C7-4EFE-ABD9-D3F341F74952}" dt="2022-10-18T13:25:54.949" v="460"/>
          <ac:picMkLst>
            <pc:docMk/>
            <pc:sldMk cId="1675447509" sldId="2141411838"/>
            <ac:picMk id="6" creationId="{F8C0104B-EAAA-E9EB-B93C-8AD2DA4C7E9B}"/>
          </ac:picMkLst>
        </pc:picChg>
        <pc:picChg chg="add mod ord">
          <ac:chgData name="Michel Zaffran" userId="8a7ca06df0d4362c" providerId="LiveId" clId="{D93FAF12-B6C7-4EFE-ABD9-D3F341F74952}" dt="2022-10-18T17:05:46.580" v="1037" actId="14100"/>
          <ac:picMkLst>
            <pc:docMk/>
            <pc:sldMk cId="1675447509" sldId="2141411838"/>
            <ac:picMk id="7" creationId="{3D751F77-42C7-47DD-B6DA-0C8BE469D16F}"/>
          </ac:picMkLst>
        </pc:picChg>
        <pc:picChg chg="del">
          <ac:chgData name="Michel Zaffran" userId="8a7ca06df0d4362c" providerId="LiveId" clId="{D93FAF12-B6C7-4EFE-ABD9-D3F341F74952}" dt="2022-10-18T13:18:30.233" v="339" actId="478"/>
          <ac:picMkLst>
            <pc:docMk/>
            <pc:sldMk cId="1675447509" sldId="2141411838"/>
            <ac:picMk id="9" creationId="{E5C69D6B-8A7B-491D-B605-2303F856982E}"/>
          </ac:picMkLst>
        </pc:picChg>
      </pc:sldChg>
      <pc:sldChg chg="addSp delSp modSp mod">
        <pc:chgData name="Michel Zaffran" userId="8a7ca06df0d4362c" providerId="LiveId" clId="{D93FAF12-B6C7-4EFE-ABD9-D3F341F74952}" dt="2022-10-18T17:16:21.692" v="1549" actId="20577"/>
        <pc:sldMkLst>
          <pc:docMk/>
          <pc:sldMk cId="2726808069" sldId="2141411839"/>
        </pc:sldMkLst>
        <pc:spChg chg="mod">
          <ac:chgData name="Michel Zaffran" userId="8a7ca06df0d4362c" providerId="LiveId" clId="{D93FAF12-B6C7-4EFE-ABD9-D3F341F74952}" dt="2022-10-18T17:16:21.692" v="1549" actId="20577"/>
          <ac:spMkLst>
            <pc:docMk/>
            <pc:sldMk cId="2726808069" sldId="2141411839"/>
            <ac:spMk id="11" creationId="{A34A0FA5-801E-4026-8304-35412B4B39A3}"/>
          </ac:spMkLst>
        </pc:spChg>
        <pc:picChg chg="del">
          <ac:chgData name="Michel Zaffran" userId="8a7ca06df0d4362c" providerId="LiveId" clId="{D93FAF12-B6C7-4EFE-ABD9-D3F341F74952}" dt="2022-10-18T13:19:11.692" v="352" actId="478"/>
          <ac:picMkLst>
            <pc:docMk/>
            <pc:sldMk cId="2726808069" sldId="2141411839"/>
            <ac:picMk id="3" creationId="{86F3FBD5-F2A2-FF0A-9B29-0BED23D109EE}"/>
          </ac:picMkLst>
        </pc:picChg>
        <pc:picChg chg="add mod">
          <ac:chgData name="Michel Zaffran" userId="8a7ca06df0d4362c" providerId="LiveId" clId="{D93FAF12-B6C7-4EFE-ABD9-D3F341F74952}" dt="2022-10-18T13:19:12.489" v="353"/>
          <ac:picMkLst>
            <pc:docMk/>
            <pc:sldMk cId="2726808069" sldId="2141411839"/>
            <ac:picMk id="4" creationId="{766DA4E7-3E24-DB80-1C67-DBD0D6167005}"/>
          </ac:picMkLst>
        </pc:picChg>
        <pc:picChg chg="add mod">
          <ac:chgData name="Michel Zaffran" userId="8a7ca06df0d4362c" providerId="LiveId" clId="{D93FAF12-B6C7-4EFE-ABD9-D3F341F74952}" dt="2022-10-18T13:28:16.194" v="523" actId="1076"/>
          <ac:picMkLst>
            <pc:docMk/>
            <pc:sldMk cId="2726808069" sldId="2141411839"/>
            <ac:picMk id="5" creationId="{A45E72B6-CA47-36B5-1E3C-CD9B00E40154}"/>
          </ac:picMkLst>
        </pc:picChg>
        <pc:picChg chg="del">
          <ac:chgData name="Michel Zaffran" userId="8a7ca06df0d4362c" providerId="LiveId" clId="{D93FAF12-B6C7-4EFE-ABD9-D3F341F74952}" dt="2022-10-18T13:25:17.067" v="431" actId="478"/>
          <ac:picMkLst>
            <pc:docMk/>
            <pc:sldMk cId="2726808069" sldId="2141411839"/>
            <ac:picMk id="12" creationId="{37AE7083-6ED2-4370-83F7-5112CF35EA22}"/>
          </ac:picMkLst>
        </pc:picChg>
      </pc:sldChg>
      <pc:sldChg chg="addSp delSp modSp mod">
        <pc:chgData name="Michel Zaffran" userId="8a7ca06df0d4362c" providerId="LiveId" clId="{D93FAF12-B6C7-4EFE-ABD9-D3F341F74952}" dt="2022-10-18T13:33:15.568" v="588" actId="1035"/>
        <pc:sldMkLst>
          <pc:docMk/>
          <pc:sldMk cId="2105215396" sldId="2141411840"/>
        </pc:sldMkLst>
        <pc:spChg chg="mod">
          <ac:chgData name="Michel Zaffran" userId="8a7ca06df0d4362c" providerId="LiveId" clId="{D93FAF12-B6C7-4EFE-ABD9-D3F341F74952}" dt="2022-10-18T13:32:47.100" v="576"/>
          <ac:spMkLst>
            <pc:docMk/>
            <pc:sldMk cId="2105215396" sldId="2141411840"/>
            <ac:spMk id="11" creationId="{A34A0FA5-801E-4026-8304-35412B4B39A3}"/>
          </ac:spMkLst>
        </pc:spChg>
        <pc:picChg chg="del">
          <ac:chgData name="Michel Zaffran" userId="8a7ca06df0d4362c" providerId="LiveId" clId="{D93FAF12-B6C7-4EFE-ABD9-D3F341F74952}" dt="2022-10-18T13:23:47.073" v="391" actId="478"/>
          <ac:picMkLst>
            <pc:docMk/>
            <pc:sldMk cId="2105215396" sldId="2141411840"/>
            <ac:picMk id="3" creationId="{124F9067-EC09-02E1-B185-9059FD6D6F63}"/>
          </ac:picMkLst>
        </pc:picChg>
        <pc:picChg chg="add mod">
          <ac:chgData name="Michel Zaffran" userId="8a7ca06df0d4362c" providerId="LiveId" clId="{D93FAF12-B6C7-4EFE-ABD9-D3F341F74952}" dt="2022-10-18T13:33:10.826" v="582" actId="1037"/>
          <ac:picMkLst>
            <pc:docMk/>
            <pc:sldMk cId="2105215396" sldId="2141411840"/>
            <ac:picMk id="4" creationId="{09F2B8D2-DB18-7A0C-FF34-18FF73C30809}"/>
          </ac:picMkLst>
        </pc:picChg>
        <pc:picChg chg="add mod">
          <ac:chgData name="Michel Zaffran" userId="8a7ca06df0d4362c" providerId="LiveId" clId="{D93FAF12-B6C7-4EFE-ABD9-D3F341F74952}" dt="2022-10-18T13:33:15.568" v="588" actId="1035"/>
          <ac:picMkLst>
            <pc:docMk/>
            <pc:sldMk cId="2105215396" sldId="2141411840"/>
            <ac:picMk id="5" creationId="{552873AE-68B8-5D9E-F16B-5864C0549566}"/>
          </ac:picMkLst>
        </pc:picChg>
        <pc:picChg chg="del">
          <ac:chgData name="Michel Zaffran" userId="8a7ca06df0d4362c" providerId="LiveId" clId="{D93FAF12-B6C7-4EFE-ABD9-D3F341F74952}" dt="2022-10-18T13:23:49.599" v="392" actId="478"/>
          <ac:picMkLst>
            <pc:docMk/>
            <pc:sldMk cId="2105215396" sldId="2141411840"/>
            <ac:picMk id="12" creationId="{37AE7083-6ED2-4370-83F7-5112CF35EA22}"/>
          </ac:picMkLst>
        </pc:picChg>
      </pc:sldChg>
      <pc:sldChg chg="addSp delSp modSp mod addAnim delAnim modAnim">
        <pc:chgData name="Michel Zaffran" userId="8a7ca06df0d4362c" providerId="LiveId" clId="{D93FAF12-B6C7-4EFE-ABD9-D3F341F74952}" dt="2022-10-19T07:32:52.704" v="1602" actId="1076"/>
        <pc:sldMkLst>
          <pc:docMk/>
          <pc:sldMk cId="3753766546" sldId="2141411841"/>
        </pc:sldMkLst>
        <pc:spChg chg="mod">
          <ac:chgData name="Michel Zaffran" userId="8a7ca06df0d4362c" providerId="LiveId" clId="{D93FAF12-B6C7-4EFE-ABD9-D3F341F74952}" dt="2022-10-18T13:47:34.982" v="949" actId="14100"/>
          <ac:spMkLst>
            <pc:docMk/>
            <pc:sldMk cId="3753766546" sldId="2141411841"/>
            <ac:spMk id="8" creationId="{252B6612-C841-1EBF-935A-4D0282F3D50C}"/>
          </ac:spMkLst>
        </pc:spChg>
        <pc:spChg chg="mod">
          <ac:chgData name="Michel Zaffran" userId="8a7ca06df0d4362c" providerId="LiveId" clId="{D93FAF12-B6C7-4EFE-ABD9-D3F341F74952}" dt="2022-10-18T13:47:51.711" v="960" actId="6549"/>
          <ac:spMkLst>
            <pc:docMk/>
            <pc:sldMk cId="3753766546" sldId="2141411841"/>
            <ac:spMk id="9" creationId="{7C817B67-98B4-4D7E-93F9-E8F4496FD896}"/>
          </ac:spMkLst>
        </pc:spChg>
        <pc:spChg chg="mod">
          <ac:chgData name="Michel Zaffran" userId="8a7ca06df0d4362c" providerId="LiveId" clId="{D93FAF12-B6C7-4EFE-ABD9-D3F341F74952}" dt="2022-10-18T13:47:31.483" v="948" actId="20577"/>
          <ac:spMkLst>
            <pc:docMk/>
            <pc:sldMk cId="3753766546" sldId="2141411841"/>
            <ac:spMk id="10" creationId="{A4206C90-43B5-1DAF-4DED-382F86B0239A}"/>
          </ac:spMkLst>
        </pc:spChg>
        <pc:spChg chg="mod">
          <ac:chgData name="Michel Zaffran" userId="8a7ca06df0d4362c" providerId="LiveId" clId="{D93FAF12-B6C7-4EFE-ABD9-D3F341F74952}" dt="2022-10-18T13:47:10.524" v="936" actId="313"/>
          <ac:spMkLst>
            <pc:docMk/>
            <pc:sldMk cId="3753766546" sldId="2141411841"/>
            <ac:spMk id="13" creationId="{A38A717B-B8F0-DDE7-C01B-91D752635D1B}"/>
          </ac:spMkLst>
        </pc:spChg>
        <pc:spChg chg="mod">
          <ac:chgData name="Michel Zaffran" userId="8a7ca06df0d4362c" providerId="LiveId" clId="{D93FAF12-B6C7-4EFE-ABD9-D3F341F74952}" dt="2022-10-18T13:47:21.216" v="945" actId="20577"/>
          <ac:spMkLst>
            <pc:docMk/>
            <pc:sldMk cId="3753766546" sldId="2141411841"/>
            <ac:spMk id="15" creationId="{54BD15CB-E21E-785D-6727-59611455C548}"/>
          </ac:spMkLst>
        </pc:spChg>
        <pc:spChg chg="del mod topLvl">
          <ac:chgData name="Michel Zaffran" userId="8a7ca06df0d4362c" providerId="LiveId" clId="{D93FAF12-B6C7-4EFE-ABD9-D3F341F74952}" dt="2022-10-19T07:32:36.539" v="1599" actId="478"/>
          <ac:spMkLst>
            <pc:docMk/>
            <pc:sldMk cId="3753766546" sldId="2141411841"/>
            <ac:spMk id="64" creationId="{1E8E679A-3157-7420-A349-0A4884B435F2}"/>
          </ac:spMkLst>
        </pc:spChg>
        <pc:grpChg chg="add mod">
          <ac:chgData name="Michel Zaffran" userId="8a7ca06df0d4362c" providerId="LiveId" clId="{D93FAF12-B6C7-4EFE-ABD9-D3F341F74952}" dt="2022-10-19T07:32:52.704" v="1602" actId="1076"/>
          <ac:grpSpMkLst>
            <pc:docMk/>
            <pc:sldMk cId="3753766546" sldId="2141411841"/>
            <ac:grpSpMk id="6" creationId="{CB58C9AC-85B9-C7FD-1F72-52827977797D}"/>
          </ac:grpSpMkLst>
        </pc:grpChg>
        <pc:grpChg chg="add del">
          <ac:chgData name="Michel Zaffran" userId="8a7ca06df0d4362c" providerId="LiveId" clId="{D93FAF12-B6C7-4EFE-ABD9-D3F341F74952}" dt="2022-10-18T13:46:24.114" v="895" actId="478"/>
          <ac:grpSpMkLst>
            <pc:docMk/>
            <pc:sldMk cId="3753766546" sldId="2141411841"/>
            <ac:grpSpMk id="65" creationId="{1574C364-2B98-15BC-C315-5BE5D453ECD6}"/>
          </ac:grpSpMkLst>
        </pc:grpChg>
        <pc:picChg chg="add mod">
          <ac:chgData name="Michel Zaffran" userId="8a7ca06df0d4362c" providerId="LiveId" clId="{D93FAF12-B6C7-4EFE-ABD9-D3F341F74952}" dt="2022-10-19T07:32:45.306" v="1600"/>
          <ac:picMkLst>
            <pc:docMk/>
            <pc:sldMk cId="3753766546" sldId="2141411841"/>
            <ac:picMk id="2" creationId="{EEB1B42D-7D8B-6166-9CBC-93CEC7C7B1F5}"/>
          </ac:picMkLst>
        </pc:picChg>
        <pc:picChg chg="add mod">
          <ac:chgData name="Michel Zaffran" userId="8a7ca06df0d4362c" providerId="LiveId" clId="{D93FAF12-B6C7-4EFE-ABD9-D3F341F74952}" dt="2022-10-18T13:26:23.853" v="477" actId="1037"/>
          <ac:picMkLst>
            <pc:docMk/>
            <pc:sldMk cId="3753766546" sldId="2141411841"/>
            <ac:picMk id="4" creationId="{C4C830E8-A77D-1CB4-09C9-5C68B391F8A0}"/>
          </ac:picMkLst>
        </pc:picChg>
        <pc:picChg chg="add mod">
          <ac:chgData name="Michel Zaffran" userId="8a7ca06df0d4362c" providerId="LiveId" clId="{D93FAF12-B6C7-4EFE-ABD9-D3F341F74952}" dt="2022-10-18T13:45:41.030" v="893"/>
          <ac:picMkLst>
            <pc:docMk/>
            <pc:sldMk cId="3753766546" sldId="2141411841"/>
            <ac:picMk id="5" creationId="{733F02F1-42A3-427A-B097-88956A58A957}"/>
          </ac:picMkLst>
        </pc:picChg>
        <pc:picChg chg="mod">
          <ac:chgData name="Michel Zaffran" userId="8a7ca06df0d4362c" providerId="LiveId" clId="{D93FAF12-B6C7-4EFE-ABD9-D3F341F74952}" dt="2022-10-18T13:46:25.613" v="896"/>
          <ac:picMkLst>
            <pc:docMk/>
            <pc:sldMk cId="3753766546" sldId="2141411841"/>
            <ac:picMk id="7" creationId="{AFF4959B-956C-66DF-A0F3-D3A950420FBA}"/>
          </ac:picMkLst>
        </pc:picChg>
        <pc:picChg chg="del">
          <ac:chgData name="Michel Zaffran" userId="8a7ca06df0d4362c" providerId="LiveId" clId="{D93FAF12-B6C7-4EFE-ABD9-D3F341F74952}" dt="2022-10-18T13:17:54.159" v="315" actId="478"/>
          <ac:picMkLst>
            <pc:docMk/>
            <pc:sldMk cId="3753766546" sldId="2141411841"/>
            <ac:picMk id="12" creationId="{BEE684B9-9F71-4D8D-B12C-A3788B455999}"/>
          </ac:picMkLst>
        </pc:picChg>
        <pc:picChg chg="mod">
          <ac:chgData name="Michel Zaffran" userId="8a7ca06df0d4362c" providerId="LiveId" clId="{D93FAF12-B6C7-4EFE-ABD9-D3F341F74952}" dt="2022-10-18T13:46:25.613" v="896"/>
          <ac:picMkLst>
            <pc:docMk/>
            <pc:sldMk cId="3753766546" sldId="2141411841"/>
            <ac:picMk id="14" creationId="{C23FCA58-D7F8-7BAB-271E-C36B824AF04E}"/>
          </ac:picMkLst>
        </pc:picChg>
        <pc:picChg chg="mod">
          <ac:chgData name="Michel Zaffran" userId="8a7ca06df0d4362c" providerId="LiveId" clId="{D93FAF12-B6C7-4EFE-ABD9-D3F341F74952}" dt="2022-10-18T13:46:25.613" v="896"/>
          <ac:picMkLst>
            <pc:docMk/>
            <pc:sldMk cId="3753766546" sldId="2141411841"/>
            <ac:picMk id="17" creationId="{339A2136-A1FF-AFB9-5EF3-FC599A80893B}"/>
          </ac:picMkLst>
        </pc:picChg>
        <pc:picChg chg="mod">
          <ac:chgData name="Michel Zaffran" userId="8a7ca06df0d4362c" providerId="LiveId" clId="{D93FAF12-B6C7-4EFE-ABD9-D3F341F74952}" dt="2022-10-18T13:46:25.613" v="896"/>
          <ac:picMkLst>
            <pc:docMk/>
            <pc:sldMk cId="3753766546" sldId="2141411841"/>
            <ac:picMk id="18" creationId="{70EA8FB9-AFF2-DEE4-A561-001BB9342419}"/>
          </ac:picMkLst>
        </pc:picChg>
        <pc:picChg chg="mod">
          <ac:chgData name="Michel Zaffran" userId="8a7ca06df0d4362c" providerId="LiveId" clId="{D93FAF12-B6C7-4EFE-ABD9-D3F341F74952}" dt="2022-10-18T13:46:25.613" v="896"/>
          <ac:picMkLst>
            <pc:docMk/>
            <pc:sldMk cId="3753766546" sldId="2141411841"/>
            <ac:picMk id="19" creationId="{E1B3E6E7-B7E8-0DD7-C43E-A018E2D2D67E}"/>
          </ac:picMkLst>
        </pc:picChg>
        <pc:picChg chg="mod">
          <ac:chgData name="Michel Zaffran" userId="8a7ca06df0d4362c" providerId="LiveId" clId="{D93FAF12-B6C7-4EFE-ABD9-D3F341F74952}" dt="2022-10-18T13:46:25.613" v="896"/>
          <ac:picMkLst>
            <pc:docMk/>
            <pc:sldMk cId="3753766546" sldId="2141411841"/>
            <ac:picMk id="20" creationId="{D6D2C1AD-0DFC-FF18-8B7C-43BFFE3C7982}"/>
          </ac:picMkLst>
        </pc:picChg>
        <pc:picChg chg="mod">
          <ac:chgData name="Michel Zaffran" userId="8a7ca06df0d4362c" providerId="LiveId" clId="{D93FAF12-B6C7-4EFE-ABD9-D3F341F74952}" dt="2022-10-18T13:46:25.613" v="896"/>
          <ac:picMkLst>
            <pc:docMk/>
            <pc:sldMk cId="3753766546" sldId="2141411841"/>
            <ac:picMk id="21" creationId="{25290113-C7A9-1351-6058-083C8C69CCE2}"/>
          </ac:picMkLst>
        </pc:picChg>
        <pc:picChg chg="mod">
          <ac:chgData name="Michel Zaffran" userId="8a7ca06df0d4362c" providerId="LiveId" clId="{D93FAF12-B6C7-4EFE-ABD9-D3F341F74952}" dt="2022-10-18T13:46:25.613" v="896"/>
          <ac:picMkLst>
            <pc:docMk/>
            <pc:sldMk cId="3753766546" sldId="2141411841"/>
            <ac:picMk id="22" creationId="{A1F7DC96-6DFF-7088-1034-B414B611D2BA}"/>
          </ac:picMkLst>
        </pc:picChg>
        <pc:picChg chg="mod">
          <ac:chgData name="Michel Zaffran" userId="8a7ca06df0d4362c" providerId="LiveId" clId="{D93FAF12-B6C7-4EFE-ABD9-D3F341F74952}" dt="2022-10-18T13:46:25.613" v="896"/>
          <ac:picMkLst>
            <pc:docMk/>
            <pc:sldMk cId="3753766546" sldId="2141411841"/>
            <ac:picMk id="23" creationId="{F421BE55-9AB5-5EA9-D052-A742BF999825}"/>
          </ac:picMkLst>
        </pc:picChg>
        <pc:picChg chg="mod">
          <ac:chgData name="Michel Zaffran" userId="8a7ca06df0d4362c" providerId="LiveId" clId="{D93FAF12-B6C7-4EFE-ABD9-D3F341F74952}" dt="2022-10-18T13:46:25.613" v="896"/>
          <ac:picMkLst>
            <pc:docMk/>
            <pc:sldMk cId="3753766546" sldId="2141411841"/>
            <ac:picMk id="24" creationId="{23CBDDAA-8208-6B7E-DB24-8D9C4DF7147F}"/>
          </ac:picMkLst>
        </pc:picChg>
        <pc:picChg chg="mod">
          <ac:chgData name="Michel Zaffran" userId="8a7ca06df0d4362c" providerId="LiveId" clId="{D93FAF12-B6C7-4EFE-ABD9-D3F341F74952}" dt="2022-10-18T13:46:25.613" v="896"/>
          <ac:picMkLst>
            <pc:docMk/>
            <pc:sldMk cId="3753766546" sldId="2141411841"/>
            <ac:picMk id="25" creationId="{3E839885-DBFA-13EE-7E3E-908C3AD88D05}"/>
          </ac:picMkLst>
        </pc:picChg>
        <pc:picChg chg="mod">
          <ac:chgData name="Michel Zaffran" userId="8a7ca06df0d4362c" providerId="LiveId" clId="{D93FAF12-B6C7-4EFE-ABD9-D3F341F74952}" dt="2022-10-18T13:46:25.613" v="896"/>
          <ac:picMkLst>
            <pc:docMk/>
            <pc:sldMk cId="3753766546" sldId="2141411841"/>
            <ac:picMk id="26" creationId="{D3A65D14-37F8-6BC3-5C00-E258E92E9424}"/>
          </ac:picMkLst>
        </pc:picChg>
        <pc:picChg chg="mod">
          <ac:chgData name="Michel Zaffran" userId="8a7ca06df0d4362c" providerId="LiveId" clId="{D93FAF12-B6C7-4EFE-ABD9-D3F341F74952}" dt="2022-10-18T13:46:25.613" v="896"/>
          <ac:picMkLst>
            <pc:docMk/>
            <pc:sldMk cId="3753766546" sldId="2141411841"/>
            <ac:picMk id="27" creationId="{E40CF62B-D8C6-3AB4-9CCC-170C8204CDF4}"/>
          </ac:picMkLst>
        </pc:picChg>
        <pc:picChg chg="mod">
          <ac:chgData name="Michel Zaffran" userId="8a7ca06df0d4362c" providerId="LiveId" clId="{D93FAF12-B6C7-4EFE-ABD9-D3F341F74952}" dt="2022-10-18T13:46:25.613" v="896"/>
          <ac:picMkLst>
            <pc:docMk/>
            <pc:sldMk cId="3753766546" sldId="2141411841"/>
            <ac:picMk id="28" creationId="{84437A99-FCFB-2A9B-AA7C-C29A0D4A50C9}"/>
          </ac:picMkLst>
        </pc:picChg>
        <pc:picChg chg="mod">
          <ac:chgData name="Michel Zaffran" userId="8a7ca06df0d4362c" providerId="LiveId" clId="{D93FAF12-B6C7-4EFE-ABD9-D3F341F74952}" dt="2022-10-18T13:46:25.613" v="896"/>
          <ac:picMkLst>
            <pc:docMk/>
            <pc:sldMk cId="3753766546" sldId="2141411841"/>
            <ac:picMk id="29" creationId="{FA1C3908-74DD-034B-A827-A19BAC8E62D6}"/>
          </ac:picMkLst>
        </pc:picChg>
        <pc:picChg chg="mod">
          <ac:chgData name="Michel Zaffran" userId="8a7ca06df0d4362c" providerId="LiveId" clId="{D93FAF12-B6C7-4EFE-ABD9-D3F341F74952}" dt="2022-10-18T13:46:25.613" v="896"/>
          <ac:picMkLst>
            <pc:docMk/>
            <pc:sldMk cId="3753766546" sldId="2141411841"/>
            <ac:picMk id="30" creationId="{A461839B-1534-BE18-48D0-8BBDAC883EAC}"/>
          </ac:picMkLst>
        </pc:picChg>
        <pc:picChg chg="mod">
          <ac:chgData name="Michel Zaffran" userId="8a7ca06df0d4362c" providerId="LiveId" clId="{D93FAF12-B6C7-4EFE-ABD9-D3F341F74952}" dt="2022-10-18T13:46:25.613" v="896"/>
          <ac:picMkLst>
            <pc:docMk/>
            <pc:sldMk cId="3753766546" sldId="2141411841"/>
            <ac:picMk id="31" creationId="{9B535561-7283-53E1-3483-6F1CA65A1315}"/>
          </ac:picMkLst>
        </pc:picChg>
        <pc:picChg chg="mod">
          <ac:chgData name="Michel Zaffran" userId="8a7ca06df0d4362c" providerId="LiveId" clId="{D93FAF12-B6C7-4EFE-ABD9-D3F341F74952}" dt="2022-10-18T13:46:25.613" v="896"/>
          <ac:picMkLst>
            <pc:docMk/>
            <pc:sldMk cId="3753766546" sldId="2141411841"/>
            <ac:picMk id="32" creationId="{A440A328-D167-CB8E-D060-A109B1B0257F}"/>
          </ac:picMkLst>
        </pc:picChg>
        <pc:picChg chg="mod">
          <ac:chgData name="Michel Zaffran" userId="8a7ca06df0d4362c" providerId="LiveId" clId="{D93FAF12-B6C7-4EFE-ABD9-D3F341F74952}" dt="2022-10-18T13:46:25.613" v="896"/>
          <ac:picMkLst>
            <pc:docMk/>
            <pc:sldMk cId="3753766546" sldId="2141411841"/>
            <ac:picMk id="33" creationId="{74199DD9-3FFC-8F6D-B20C-D12459D0ED27}"/>
          </ac:picMkLst>
        </pc:picChg>
        <pc:picChg chg="mod">
          <ac:chgData name="Michel Zaffran" userId="8a7ca06df0d4362c" providerId="LiveId" clId="{D93FAF12-B6C7-4EFE-ABD9-D3F341F74952}" dt="2022-10-18T13:46:25.613" v="896"/>
          <ac:picMkLst>
            <pc:docMk/>
            <pc:sldMk cId="3753766546" sldId="2141411841"/>
            <ac:picMk id="34" creationId="{B1EF4D41-ABA7-FBE2-7743-56C10AEA1306}"/>
          </ac:picMkLst>
        </pc:picChg>
        <pc:picChg chg="mod">
          <ac:chgData name="Michel Zaffran" userId="8a7ca06df0d4362c" providerId="LiveId" clId="{D93FAF12-B6C7-4EFE-ABD9-D3F341F74952}" dt="2022-10-18T13:46:25.613" v="896"/>
          <ac:picMkLst>
            <pc:docMk/>
            <pc:sldMk cId="3753766546" sldId="2141411841"/>
            <ac:picMk id="35" creationId="{5DA2E5EE-126B-E7AF-B54F-22326D06AE3F}"/>
          </ac:picMkLst>
        </pc:picChg>
        <pc:picChg chg="mod">
          <ac:chgData name="Michel Zaffran" userId="8a7ca06df0d4362c" providerId="LiveId" clId="{D93FAF12-B6C7-4EFE-ABD9-D3F341F74952}" dt="2022-10-18T13:46:25.613" v="896"/>
          <ac:picMkLst>
            <pc:docMk/>
            <pc:sldMk cId="3753766546" sldId="2141411841"/>
            <ac:picMk id="36" creationId="{2DBFFC94-506C-F87D-9EFA-421360577C10}"/>
          </ac:picMkLst>
        </pc:picChg>
        <pc:picChg chg="mod">
          <ac:chgData name="Michel Zaffran" userId="8a7ca06df0d4362c" providerId="LiveId" clId="{D93FAF12-B6C7-4EFE-ABD9-D3F341F74952}" dt="2022-10-18T13:46:25.613" v="896"/>
          <ac:picMkLst>
            <pc:docMk/>
            <pc:sldMk cId="3753766546" sldId="2141411841"/>
            <ac:picMk id="37" creationId="{CD1F3DEC-8647-7DDB-2800-13983244DCF5}"/>
          </ac:picMkLst>
        </pc:picChg>
        <pc:picChg chg="mod">
          <ac:chgData name="Michel Zaffran" userId="8a7ca06df0d4362c" providerId="LiveId" clId="{D93FAF12-B6C7-4EFE-ABD9-D3F341F74952}" dt="2022-10-18T13:46:25.613" v="896"/>
          <ac:picMkLst>
            <pc:docMk/>
            <pc:sldMk cId="3753766546" sldId="2141411841"/>
            <ac:picMk id="38" creationId="{AE2F3FF4-8792-F380-4404-510E5C1647E1}"/>
          </ac:picMkLst>
        </pc:picChg>
        <pc:picChg chg="del topLvl">
          <ac:chgData name="Michel Zaffran" userId="8a7ca06df0d4362c" providerId="LiveId" clId="{D93FAF12-B6C7-4EFE-ABD9-D3F341F74952}" dt="2022-10-18T13:46:24.114" v="895" actId="478"/>
          <ac:picMkLst>
            <pc:docMk/>
            <pc:sldMk cId="3753766546" sldId="2141411841"/>
            <ac:picMk id="63" creationId="{24240AC2-A26A-FF4F-1627-2C4A969D2009}"/>
          </ac:picMkLst>
        </pc:picChg>
      </pc:sldChg>
      <pc:sldChg chg="ord">
        <pc:chgData name="Michel Zaffran" userId="8a7ca06df0d4362c" providerId="LiveId" clId="{D93FAF12-B6C7-4EFE-ABD9-D3F341F74952}" dt="2022-10-18T13:30:39.472" v="538"/>
        <pc:sldMkLst>
          <pc:docMk/>
          <pc:sldMk cId="0" sldId="214141184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5261DE-1C4D-4C9D-A0D0-DC1F101C5328}" type="datetimeFigureOut">
              <a:rPr lang="en-US" smtClean="0"/>
              <a:t>10/1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BE9AB0-FA88-40A6-A993-43F2683562F9}" type="slidenum">
              <a:rPr lang="en-US" smtClean="0"/>
              <a:t>‹N°›</a:t>
            </a:fld>
            <a:endParaRPr lang="en-US"/>
          </a:p>
        </p:txBody>
      </p:sp>
    </p:spTree>
    <p:extLst>
      <p:ext uri="{BB962C8B-B14F-4D97-AF65-F5344CB8AC3E}">
        <p14:creationId xmlns:p14="http://schemas.microsoft.com/office/powerpoint/2010/main" val="1088407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9938"/>
            <a:ext cx="6572250" cy="3697287"/>
          </a:xfrm>
        </p:spPr>
      </p:sp>
      <p:sp>
        <p:nvSpPr>
          <p:cNvPr id="3" name="Notes Placeholder 2"/>
          <p:cNvSpPr>
            <a:spLocks noGrp="1"/>
          </p:cNvSpPr>
          <p:nvPr>
            <p:ph type="body" idx="1"/>
          </p:nvPr>
        </p:nvSpPr>
        <p:spPr/>
        <p:txBody>
          <a:bodyPr/>
          <a:lstStyle/>
          <a:p>
            <a:endParaRPr lang="en-GB" b="1" dirty="0"/>
          </a:p>
          <a:p>
            <a:endParaRPr lang="en-US" dirty="0"/>
          </a:p>
          <a:p>
            <a:endParaRPr lang="en-US" b="1" dirty="0"/>
          </a:p>
          <a:p>
            <a:endParaRPr lang="en-US" dirty="0"/>
          </a:p>
          <a:p>
            <a:endParaRPr lang="en-US" dirty="0"/>
          </a:p>
        </p:txBody>
      </p:sp>
    </p:spTree>
    <p:extLst>
      <p:ext uri="{BB962C8B-B14F-4D97-AF65-F5344CB8AC3E}">
        <p14:creationId xmlns:p14="http://schemas.microsoft.com/office/powerpoint/2010/main" val="3205127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5"/>
          </p:nvPr>
        </p:nvSpPr>
        <p:spPr/>
        <p:txBody>
          <a:bodyPr/>
          <a:lstStyle/>
          <a:p>
            <a:fld id="{ADE27435-6819-4424-9FA1-09DF327631B9}" type="slidenum">
              <a:rPr lang="en-GB" smtClean="0"/>
              <a:t>11</a:t>
            </a:fld>
            <a:endParaRPr lang="en-GB"/>
          </a:p>
        </p:txBody>
      </p:sp>
    </p:spTree>
    <p:extLst>
      <p:ext uri="{BB962C8B-B14F-4D97-AF65-F5344CB8AC3E}">
        <p14:creationId xmlns:p14="http://schemas.microsoft.com/office/powerpoint/2010/main" val="29975032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CB2294-2815-0641-BA18-00635844A3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11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743450"/>
          </a:xfrm>
        </p:spPr>
        <p:txBody>
          <a:bodyPr/>
          <a:lstStyle/>
          <a:p>
            <a:endParaRPr lang="en-US" baseline="0" dirty="0"/>
          </a:p>
          <a:p>
            <a:r>
              <a:rPr lang="en-US" baseline="0" dirty="0"/>
              <a:t>The COVID-19 pandemic has been an unanticipated challenged in 2020; a “curveball” that nobody could have anticipated. This is a recent map that shows the countries affected by COVID-19. It is reminiscent of the maps from the early days of our fight against polio – a virus that has impacted life throughout the world and which, like polio was not well understood and initially lacked a preventive vaccine or effective cure and therefore placing an extraordinary public health threat to communities and burden on health systems.</a:t>
            </a:r>
          </a:p>
          <a:p>
            <a:r>
              <a:rPr lang="en-US" baseline="0" dirty="0"/>
              <a:t>Due to the unique nature of COVID-19 and the way the virus spreads, immunization activities, particularly mass immunization campaigns including those for polio were paused for several months beginning in March 2020.  As of 20 July, both Afghanistan and Pakistan have resumed polio immunization activities as have several countries in Africa-all observing safety protocols to keep frontline health workers and communities safe. </a:t>
            </a:r>
          </a:p>
          <a:p>
            <a:r>
              <a:rPr lang="en-US" dirty="0"/>
              <a:t>During this time, polio workers and surveillance system—the PolioPlus infrastructure-- that make up the backbone of the GPEI are fighting COVID-19 in the ways shown on this slide.  Front line health workers and teaching communities how to keep safe from COVID; surveillance medical officers are investigating cases of polio and COVID and providing training for front line health care workers.  And just as they do for polio, when a person tests positive for COVID, their close contacts are also tested to determine if the virus is spreading. This is a demonstrable example of the “Plus” in PolioPlus.</a:t>
            </a:r>
          </a:p>
        </p:txBody>
      </p:sp>
      <p:sp>
        <p:nvSpPr>
          <p:cNvPr id="4" name="Slide Number Placeholder 3"/>
          <p:cNvSpPr>
            <a:spLocks noGrp="1"/>
          </p:cNvSpPr>
          <p:nvPr>
            <p:ph type="sldNum" sz="quarter" idx="10"/>
          </p:nvPr>
        </p:nvSpPr>
        <p:spPr/>
        <p:txBody>
          <a:bodyPr/>
          <a:lstStyle/>
          <a:p>
            <a:fld id="{55CB2294-2815-0641-BA18-00635844A3C8}" type="slidenum">
              <a:rPr lang="en-US" smtClean="0"/>
              <a:t>14</a:t>
            </a:fld>
            <a:endParaRPr lang="en-US" dirty="0"/>
          </a:p>
        </p:txBody>
      </p:sp>
    </p:spTree>
    <p:extLst>
      <p:ext uri="{BB962C8B-B14F-4D97-AF65-F5344CB8AC3E}">
        <p14:creationId xmlns:p14="http://schemas.microsoft.com/office/powerpoint/2010/main" val="5685667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xfrm>
            <a:off x="92075" y="746125"/>
            <a:ext cx="6624638" cy="3727450"/>
          </a:xfrm>
          <a:ln/>
        </p:spPr>
      </p:sp>
      <p:sp>
        <p:nvSpPr>
          <p:cNvPr id="2" name="Notes Placeholder 1"/>
          <p:cNvSpPr>
            <a:spLocks noGrp="1"/>
          </p:cNvSpPr>
          <p:nvPr>
            <p:ph type="body" sz="quarter" idx="10"/>
          </p:nvPr>
        </p:nvSpPr>
        <p:spPr>
          <a:xfrm>
            <a:off x="685800" y="4670426"/>
            <a:ext cx="5486400" cy="3600450"/>
          </a:xfrm>
        </p:spPr>
        <p:txBody>
          <a:bodyPr/>
          <a:lstStyle/>
          <a:p>
            <a:r>
              <a:rPr lang="fr-FR" dirty="0"/>
              <a:t>Cependant, si nous n'éradiquons PAS la polio, la maladie reviendra en force. La poliomyélite est une maladie hautement infectieuse, elle est sujette aux épidémies et, dans un monde interconnecté, les pays exempts de poliomyélite seront à nouveau rapidement infectés.</a:t>
            </a:r>
          </a:p>
          <a:p>
            <a:endParaRPr lang="fr-FR" dirty="0"/>
          </a:p>
          <a:p>
            <a:r>
              <a:rPr lang="fr-FR" dirty="0"/>
              <a:t>Nous avons constaté maintes et maintes fois que la polio se propageait à nouveau dans des zones auparavant exemptes de poliomyélite. Cette diapositive montre une carte de tous les cas de poliomyélite de 2003 à 2017. Comme vous pouvez le constater, la poliomyélite s'est répandue de manière répétée à partir de zones d'endémie à travers le monde. Toutes ces épidémies sont à nouveau stoppées, ce qui est encourageant. Mais nous savons que si nous n'éradiquons pas la maladie dans les zones d'endémie restantes, elle se propagera à nouveau.</a:t>
            </a:r>
          </a:p>
          <a:p>
            <a:r>
              <a:rPr lang="fr-FR" dirty="0"/>
              <a:t>  Si nous n'éradiquons pas complètement la polio, nous savons que dans 10 ans, la poliomyélite se répandra à nouveau dans le monde entier et que, chaque année, 200 000 enfants seront à nouveau paralysés à vie par la polio. </a:t>
            </a:r>
          </a:p>
          <a:p>
            <a:r>
              <a:rPr lang="fr-FR" dirty="0"/>
              <a:t>C'est pourquoi nous devons éradiquer la poliomyélite complètement, partout.</a:t>
            </a:r>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CB2294-2815-0641-BA18-00635844A3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Espace réservé des notes 5">
            <a:extLst>
              <a:ext uri="{FF2B5EF4-FFF2-40B4-BE49-F238E27FC236}">
                <a16:creationId xmlns:a16="http://schemas.microsoft.com/office/drawing/2014/main" id="{26911831-47E6-48C2-9216-C104ED1B7A0D}"/>
              </a:ext>
            </a:extLst>
          </p:cNvPr>
          <p:cNvSpPr>
            <a:spLocks noGrp="1"/>
          </p:cNvSpPr>
          <p:nvPr>
            <p:ph type="body" sz="quarter" idx="3"/>
          </p:nvPr>
        </p:nvSpPr>
        <p:spPr/>
        <p:txBody>
          <a:bodyPr/>
          <a:lstStyle/>
          <a:p>
            <a:endParaRPr lang="fr-FR"/>
          </a:p>
        </p:txBody>
      </p:sp>
    </p:spTree>
    <p:extLst>
      <p:ext uri="{BB962C8B-B14F-4D97-AF65-F5344CB8AC3E}">
        <p14:creationId xmlns:p14="http://schemas.microsoft.com/office/powerpoint/2010/main" val="2206065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CB2294-2815-0641-BA18-00635844A3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Espace réservé des notes 5">
            <a:extLst>
              <a:ext uri="{FF2B5EF4-FFF2-40B4-BE49-F238E27FC236}">
                <a16:creationId xmlns:a16="http://schemas.microsoft.com/office/drawing/2014/main" id="{6AE1C16B-C8F5-4BF7-9AF2-CE8FC8B54C37}"/>
              </a:ext>
            </a:extLst>
          </p:cNvPr>
          <p:cNvSpPr>
            <a:spLocks noGrp="1"/>
          </p:cNvSpPr>
          <p:nvPr>
            <p:ph type="body" sz="quarter" idx="3"/>
          </p:nvPr>
        </p:nvSpPr>
        <p:spPr/>
        <p:txBody>
          <a:bodyPr/>
          <a:lstStyle/>
          <a:p>
            <a:endParaRPr lang="fr-FR"/>
          </a:p>
        </p:txBody>
      </p:sp>
    </p:spTree>
    <p:extLst>
      <p:ext uri="{BB962C8B-B14F-4D97-AF65-F5344CB8AC3E}">
        <p14:creationId xmlns:p14="http://schemas.microsoft.com/office/powerpoint/2010/main" val="40824466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2"/>
          <p:cNvSpPr>
            <a:spLocks noGrp="1" noRot="1" noChangeAspect="1" noChangeArrowheads="1" noTextEdit="1"/>
          </p:cNvSpPr>
          <p:nvPr>
            <p:ph type="sldImg"/>
          </p:nvPr>
        </p:nvSpPr>
        <p:spPr>
          <a:xfrm>
            <a:off x="141288" y="769938"/>
            <a:ext cx="6573837" cy="3698875"/>
          </a:xfrm>
          <a:ln/>
        </p:spPr>
      </p:sp>
      <p:sp>
        <p:nvSpPr>
          <p:cNvPr id="4" name="Rectangle 3"/>
          <p:cNvSpPr>
            <a:spLocks noGrp="1" noChangeArrowheads="1"/>
          </p:cNvSpPr>
          <p:nvPr>
            <p:ph type="body" idx="1"/>
          </p:nvPr>
        </p:nvSpPr>
        <p:spPr>
          <a:xfrm>
            <a:off x="690935" y="4787209"/>
            <a:ext cx="5533965" cy="4532105"/>
          </a:xfrm>
          <a:noFill/>
        </p:spPr>
        <p:txBody>
          <a:bodyPr/>
          <a:lstStyle/>
          <a:p>
            <a:endParaRPr lang="en-US"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xfrm>
            <a:off x="3774169" y="9283417"/>
            <a:ext cx="2888600" cy="48925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876" tIns="44938" rIns="89876" bIns="44938"/>
          <a:lstStyle>
            <a:lvl1pPr defTabSz="892522" eaLnBrk="0" hangingPunct="0">
              <a:defRPr>
                <a:solidFill>
                  <a:schemeClr val="tx1"/>
                </a:solidFill>
                <a:latin typeface="Arial" pitchFamily="34" charset="0"/>
                <a:cs typeface="Arial" pitchFamily="34" charset="0"/>
              </a:defRPr>
            </a:lvl1pPr>
            <a:lvl2pPr marL="730246" indent="-280864" defTabSz="892522" eaLnBrk="0" hangingPunct="0">
              <a:defRPr>
                <a:solidFill>
                  <a:schemeClr val="tx1"/>
                </a:solidFill>
                <a:latin typeface="Arial" pitchFamily="34" charset="0"/>
                <a:cs typeface="Arial" pitchFamily="34" charset="0"/>
              </a:defRPr>
            </a:lvl2pPr>
            <a:lvl3pPr marL="1123455" indent="-224691" defTabSz="892522" eaLnBrk="0" hangingPunct="0">
              <a:defRPr>
                <a:solidFill>
                  <a:schemeClr val="tx1"/>
                </a:solidFill>
                <a:latin typeface="Arial" pitchFamily="34" charset="0"/>
                <a:cs typeface="Arial" pitchFamily="34" charset="0"/>
              </a:defRPr>
            </a:lvl3pPr>
            <a:lvl4pPr marL="1572837" indent="-224691" defTabSz="892522" eaLnBrk="0" hangingPunct="0">
              <a:defRPr>
                <a:solidFill>
                  <a:schemeClr val="tx1"/>
                </a:solidFill>
                <a:latin typeface="Arial" pitchFamily="34" charset="0"/>
                <a:cs typeface="Arial" pitchFamily="34" charset="0"/>
              </a:defRPr>
            </a:lvl4pPr>
            <a:lvl5pPr marL="2022218" indent="-224691" defTabSz="892522" eaLnBrk="0" hangingPunct="0">
              <a:defRPr>
                <a:solidFill>
                  <a:schemeClr val="tx1"/>
                </a:solidFill>
                <a:latin typeface="Arial" pitchFamily="34" charset="0"/>
                <a:cs typeface="Arial" pitchFamily="34" charset="0"/>
              </a:defRPr>
            </a:lvl5pPr>
            <a:lvl6pPr marL="2471600" indent="-224691" defTabSz="892522" eaLnBrk="0" fontAlgn="base" hangingPunct="0">
              <a:spcBef>
                <a:spcPct val="0"/>
              </a:spcBef>
              <a:spcAft>
                <a:spcPct val="0"/>
              </a:spcAft>
              <a:defRPr>
                <a:solidFill>
                  <a:schemeClr val="tx1"/>
                </a:solidFill>
                <a:latin typeface="Arial" pitchFamily="34" charset="0"/>
                <a:cs typeface="Arial" pitchFamily="34" charset="0"/>
              </a:defRPr>
            </a:lvl6pPr>
            <a:lvl7pPr marL="2920982" indent="-224691" defTabSz="892522" eaLnBrk="0" fontAlgn="base" hangingPunct="0">
              <a:spcBef>
                <a:spcPct val="0"/>
              </a:spcBef>
              <a:spcAft>
                <a:spcPct val="0"/>
              </a:spcAft>
              <a:defRPr>
                <a:solidFill>
                  <a:schemeClr val="tx1"/>
                </a:solidFill>
                <a:latin typeface="Arial" pitchFamily="34" charset="0"/>
                <a:cs typeface="Arial" pitchFamily="34" charset="0"/>
              </a:defRPr>
            </a:lvl7pPr>
            <a:lvl8pPr marL="3370364" indent="-224691" defTabSz="892522" eaLnBrk="0" fontAlgn="base" hangingPunct="0">
              <a:spcBef>
                <a:spcPct val="0"/>
              </a:spcBef>
              <a:spcAft>
                <a:spcPct val="0"/>
              </a:spcAft>
              <a:defRPr>
                <a:solidFill>
                  <a:schemeClr val="tx1"/>
                </a:solidFill>
                <a:latin typeface="Arial" pitchFamily="34" charset="0"/>
                <a:cs typeface="Arial" pitchFamily="34" charset="0"/>
              </a:defRPr>
            </a:lvl8pPr>
            <a:lvl9pPr marL="3819746" indent="-224691" defTabSz="892522"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A236D36D-52A9-4CAE-9564-43706E3E71FF}" type="slidenum">
              <a:rPr lang="en-GB" altLang="en-US" smtClean="0"/>
              <a:pPr eaLnBrk="1" hangingPunct="1"/>
              <a:t>2</a:t>
            </a:fld>
            <a:endParaRPr lang="en-GB" altLang="en-US"/>
          </a:p>
        </p:txBody>
      </p:sp>
      <p:sp>
        <p:nvSpPr>
          <p:cNvPr id="41987" name="Rectangle 2"/>
          <p:cNvSpPr>
            <a:spLocks noGrp="1" noRot="1" noChangeAspect="1" noChangeArrowheads="1" noTextEdit="1"/>
          </p:cNvSpPr>
          <p:nvPr>
            <p:ph type="sldImg"/>
          </p:nvPr>
        </p:nvSpPr>
        <p:spPr>
          <a:xfrm>
            <a:off x="74613" y="733425"/>
            <a:ext cx="6515100" cy="3665538"/>
          </a:xfrm>
          <a:ln/>
        </p:spPr>
      </p:sp>
      <p:sp>
        <p:nvSpPr>
          <p:cNvPr id="2" name="Espace réservé des notes 1">
            <a:extLst>
              <a:ext uri="{FF2B5EF4-FFF2-40B4-BE49-F238E27FC236}">
                <a16:creationId xmlns:a16="http://schemas.microsoft.com/office/drawing/2014/main" id="{8BB53389-4833-48E6-85A5-C64B67A5AB91}"/>
              </a:ext>
            </a:extLst>
          </p:cNvPr>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13190697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xfrm>
            <a:off x="3774169" y="9283417"/>
            <a:ext cx="2888600" cy="48925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876" tIns="44938" rIns="89876" bIns="44938"/>
          <a:lstStyle>
            <a:lvl1pPr defTabSz="892522" eaLnBrk="0" hangingPunct="0">
              <a:defRPr>
                <a:solidFill>
                  <a:schemeClr val="tx1"/>
                </a:solidFill>
                <a:latin typeface="Arial" pitchFamily="34" charset="0"/>
                <a:cs typeface="Arial" pitchFamily="34" charset="0"/>
              </a:defRPr>
            </a:lvl1pPr>
            <a:lvl2pPr marL="730246" indent="-280864" defTabSz="892522" eaLnBrk="0" hangingPunct="0">
              <a:defRPr>
                <a:solidFill>
                  <a:schemeClr val="tx1"/>
                </a:solidFill>
                <a:latin typeface="Arial" pitchFamily="34" charset="0"/>
                <a:cs typeface="Arial" pitchFamily="34" charset="0"/>
              </a:defRPr>
            </a:lvl2pPr>
            <a:lvl3pPr marL="1123455" indent="-224691" defTabSz="892522" eaLnBrk="0" hangingPunct="0">
              <a:defRPr>
                <a:solidFill>
                  <a:schemeClr val="tx1"/>
                </a:solidFill>
                <a:latin typeface="Arial" pitchFamily="34" charset="0"/>
                <a:cs typeface="Arial" pitchFamily="34" charset="0"/>
              </a:defRPr>
            </a:lvl3pPr>
            <a:lvl4pPr marL="1572837" indent="-224691" defTabSz="892522" eaLnBrk="0" hangingPunct="0">
              <a:defRPr>
                <a:solidFill>
                  <a:schemeClr val="tx1"/>
                </a:solidFill>
                <a:latin typeface="Arial" pitchFamily="34" charset="0"/>
                <a:cs typeface="Arial" pitchFamily="34" charset="0"/>
              </a:defRPr>
            </a:lvl4pPr>
            <a:lvl5pPr marL="2022218" indent="-224691" defTabSz="892522" eaLnBrk="0" hangingPunct="0">
              <a:defRPr>
                <a:solidFill>
                  <a:schemeClr val="tx1"/>
                </a:solidFill>
                <a:latin typeface="Arial" pitchFamily="34" charset="0"/>
                <a:cs typeface="Arial" pitchFamily="34" charset="0"/>
              </a:defRPr>
            </a:lvl5pPr>
            <a:lvl6pPr marL="2471600" indent="-224691" defTabSz="892522" eaLnBrk="0" fontAlgn="base" hangingPunct="0">
              <a:spcBef>
                <a:spcPct val="0"/>
              </a:spcBef>
              <a:spcAft>
                <a:spcPct val="0"/>
              </a:spcAft>
              <a:defRPr>
                <a:solidFill>
                  <a:schemeClr val="tx1"/>
                </a:solidFill>
                <a:latin typeface="Arial" pitchFamily="34" charset="0"/>
                <a:cs typeface="Arial" pitchFamily="34" charset="0"/>
              </a:defRPr>
            </a:lvl6pPr>
            <a:lvl7pPr marL="2920982" indent="-224691" defTabSz="892522" eaLnBrk="0" fontAlgn="base" hangingPunct="0">
              <a:spcBef>
                <a:spcPct val="0"/>
              </a:spcBef>
              <a:spcAft>
                <a:spcPct val="0"/>
              </a:spcAft>
              <a:defRPr>
                <a:solidFill>
                  <a:schemeClr val="tx1"/>
                </a:solidFill>
                <a:latin typeface="Arial" pitchFamily="34" charset="0"/>
                <a:cs typeface="Arial" pitchFamily="34" charset="0"/>
              </a:defRPr>
            </a:lvl7pPr>
            <a:lvl8pPr marL="3370364" indent="-224691" defTabSz="892522" eaLnBrk="0" fontAlgn="base" hangingPunct="0">
              <a:spcBef>
                <a:spcPct val="0"/>
              </a:spcBef>
              <a:spcAft>
                <a:spcPct val="0"/>
              </a:spcAft>
              <a:defRPr>
                <a:solidFill>
                  <a:schemeClr val="tx1"/>
                </a:solidFill>
                <a:latin typeface="Arial" pitchFamily="34" charset="0"/>
                <a:cs typeface="Arial" pitchFamily="34" charset="0"/>
              </a:defRPr>
            </a:lvl8pPr>
            <a:lvl9pPr marL="3819746" indent="-224691" defTabSz="892522"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A236D36D-52A9-4CAE-9564-43706E3E71FF}" type="slidenum">
              <a:rPr lang="en-GB" altLang="en-US" smtClean="0"/>
              <a:pPr eaLnBrk="1" hangingPunct="1"/>
              <a:t>3</a:t>
            </a:fld>
            <a:endParaRPr lang="en-GB" altLang="en-US"/>
          </a:p>
        </p:txBody>
      </p:sp>
      <p:sp>
        <p:nvSpPr>
          <p:cNvPr id="41987" name="Rectangle 2"/>
          <p:cNvSpPr>
            <a:spLocks noGrp="1" noRot="1" noChangeAspect="1" noChangeArrowheads="1" noTextEdit="1"/>
          </p:cNvSpPr>
          <p:nvPr>
            <p:ph type="sldImg"/>
          </p:nvPr>
        </p:nvSpPr>
        <p:spPr>
          <a:xfrm>
            <a:off x="74613" y="733425"/>
            <a:ext cx="6515100" cy="3665538"/>
          </a:xfrm>
          <a:ln/>
        </p:spPr>
      </p:sp>
    </p:spTree>
    <p:extLst>
      <p:ext uri="{BB962C8B-B14F-4D97-AF65-F5344CB8AC3E}">
        <p14:creationId xmlns:p14="http://schemas.microsoft.com/office/powerpoint/2010/main" val="11094642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xfrm>
            <a:off x="139700" y="769938"/>
            <a:ext cx="6572250" cy="3697287"/>
          </a:xfrm>
          <a:ln/>
        </p:spPr>
      </p:sp>
      <p:sp>
        <p:nvSpPr>
          <p:cNvPr id="4" name="Rectangle 3"/>
          <p:cNvSpPr>
            <a:spLocks noGrp="1" noChangeArrowheads="1"/>
          </p:cNvSpPr>
          <p:nvPr>
            <p:ph type="body" idx="1"/>
          </p:nvPr>
        </p:nvSpPr>
        <p:spPr>
          <a:xfrm>
            <a:off x="690935" y="4787209"/>
            <a:ext cx="5533965" cy="4532105"/>
          </a:xfrm>
          <a:noFill/>
        </p:spPr>
        <p:txBody>
          <a:bodyPr/>
          <a:lstStyle/>
          <a:p>
            <a:r>
              <a:rPr lang="fr-FR" altLang="en-US" dirty="0"/>
              <a:t>En 1988, plus de 125 pays étaient endémiques de la poliomyélite.</a:t>
            </a:r>
          </a:p>
          <a:p>
            <a:endParaRPr lang="fr-FR" altLang="en-US" dirty="0"/>
          </a:p>
          <a:p>
            <a:r>
              <a:rPr lang="fr-FR" altLang="en-US" dirty="0"/>
              <a:t>Et chaque année, plus de 350 000 enfants </a:t>
            </a:r>
            <a:r>
              <a:rPr lang="fr-FR" altLang="en-US" dirty="0" err="1"/>
              <a:t>etaient</a:t>
            </a:r>
            <a:r>
              <a:rPr lang="fr-FR" altLang="en-US" dirty="0"/>
              <a:t> paralysés à vie par la maladie.</a:t>
            </a:r>
            <a:endParaRPr lang="en-US" alt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Rot="1" noChangeAspect="1" noChangeArrowheads="1" noTextEdit="1"/>
          </p:cNvSpPr>
          <p:nvPr>
            <p:ph type="sldImg"/>
          </p:nvPr>
        </p:nvSpPr>
        <p:spPr>
          <a:xfrm>
            <a:off x="93663" y="746125"/>
            <a:ext cx="6626225" cy="3727450"/>
          </a:xfrm>
          <a:ln/>
        </p:spPr>
      </p:sp>
      <p:sp>
        <p:nvSpPr>
          <p:cNvPr id="3" name="Notes Placeholder 2"/>
          <p:cNvSpPr>
            <a:spLocks noGrp="1"/>
          </p:cNvSpPr>
          <p:nvPr>
            <p:ph type="body" idx="3"/>
          </p:nvPr>
        </p:nvSpPr>
        <p:spPr>
          <a:xfrm>
            <a:off x="680562" y="4723251"/>
            <a:ext cx="5447666" cy="4472065"/>
          </a:xfrm>
          <a:noFill/>
        </p:spPr>
        <p:txBody>
          <a:bodyPr/>
          <a:lstStyle/>
          <a:p>
            <a:r>
              <a:rPr lang="en-GB" dirty="0"/>
              <a:t>Les </a:t>
            </a:r>
            <a:r>
              <a:rPr lang="en-GB" dirty="0" err="1"/>
              <a:t>derniers</a:t>
            </a:r>
            <a:r>
              <a:rPr lang="en-GB" dirty="0"/>
              <a:t> </a:t>
            </a:r>
            <a:r>
              <a:rPr lang="en-GB" dirty="0" err="1"/>
              <a:t>cas</a:t>
            </a:r>
            <a:r>
              <a:rPr lang="en-GB" dirty="0"/>
              <a:t>, </a:t>
            </a:r>
            <a:r>
              <a:rPr lang="en-GB" dirty="0" err="1"/>
              <a:t>ainsi</a:t>
            </a:r>
            <a:r>
              <a:rPr lang="en-GB" dirty="0"/>
              <a:t> </a:t>
            </a:r>
            <a:r>
              <a:rPr lang="en-GB" dirty="0" err="1"/>
              <a:t>que</a:t>
            </a:r>
            <a:r>
              <a:rPr lang="en-GB" dirty="0"/>
              <a:t> le </a:t>
            </a:r>
            <a:r>
              <a:rPr lang="en-GB" dirty="0" err="1"/>
              <a:t>dernier</a:t>
            </a:r>
            <a:r>
              <a:rPr lang="en-GB" dirty="0"/>
              <a:t> </a:t>
            </a:r>
            <a:r>
              <a:rPr lang="en-GB" dirty="0" err="1"/>
              <a:t>cas</a:t>
            </a:r>
            <a:r>
              <a:rPr lang="en-GB" dirty="0"/>
              <a:t> de </a:t>
            </a:r>
            <a:r>
              <a:rPr lang="en-GB" dirty="0" err="1"/>
              <a:t>variole</a:t>
            </a:r>
            <a:r>
              <a:rPr lang="en-GB" dirty="0"/>
              <a:t>, Ali </a:t>
            </a:r>
            <a:r>
              <a:rPr lang="en-GB" dirty="0" err="1"/>
              <a:t>Maalin</a:t>
            </a:r>
            <a:r>
              <a:rPr lang="en-GB" dirty="0"/>
              <a:t> </a:t>
            </a:r>
            <a:r>
              <a:rPr lang="en-GB" dirty="0" err="1"/>
              <a:t>en</a:t>
            </a:r>
            <a:r>
              <a:rPr lang="en-GB" dirty="0"/>
              <a:t> </a:t>
            </a:r>
            <a:r>
              <a:rPr lang="en-GB" dirty="0" err="1"/>
              <a:t>Somalie</a:t>
            </a:r>
            <a:r>
              <a:rPr lang="en-GB" dirty="0"/>
              <a:t>, pour </a:t>
            </a:r>
            <a:r>
              <a:rPr lang="en-GB" dirty="0" err="1"/>
              <a:t>illustrer</a:t>
            </a:r>
            <a:r>
              <a:rPr lang="en-GB" dirty="0"/>
              <a:t> </a:t>
            </a:r>
            <a:r>
              <a:rPr lang="en-GB" dirty="0" err="1"/>
              <a:t>que</a:t>
            </a:r>
            <a:r>
              <a:rPr lang="en-GB" dirty="0"/>
              <a:t> </a:t>
            </a:r>
            <a:r>
              <a:rPr lang="en-GB" dirty="0" err="1"/>
              <a:t>l'eradication</a:t>
            </a:r>
            <a:r>
              <a:rPr lang="en-GB" dirty="0"/>
              <a:t> </a:t>
            </a:r>
            <a:r>
              <a:rPr lang="en-GB" dirty="0" err="1"/>
              <a:t>d'une</a:t>
            </a:r>
            <a:r>
              <a:rPr lang="en-GB" dirty="0"/>
              <a:t> </a:t>
            </a:r>
            <a:r>
              <a:rPr lang="en-GB" dirty="0" err="1"/>
              <a:t>maladie</a:t>
            </a:r>
            <a:r>
              <a:rPr lang="en-GB" dirty="0"/>
              <a:t> </a:t>
            </a:r>
            <a:r>
              <a:rPr lang="en-GB" dirty="0" err="1"/>
              <a:t>est</a:t>
            </a:r>
            <a:r>
              <a:rPr lang="en-GB" dirty="0"/>
              <a:t> </a:t>
            </a:r>
            <a:r>
              <a:rPr lang="en-GB" dirty="0" err="1"/>
              <a:t>quelque</a:t>
            </a:r>
            <a:r>
              <a:rPr lang="en-GB" dirty="0"/>
              <a:t> chose de </a:t>
            </a:r>
            <a:r>
              <a:rPr lang="en-GB" dirty="0" err="1"/>
              <a:t>historique</a:t>
            </a:r>
            <a:r>
              <a:rPr lang="en-GB" dirty="0"/>
              <a:t>.</a:t>
            </a:r>
          </a:p>
          <a:p>
            <a:endParaRPr lang="en-GB" noProof="0" dirty="0"/>
          </a:p>
          <a:p>
            <a:r>
              <a:rPr lang="en-GB" dirty="0"/>
              <a:t>Les </a:t>
            </a:r>
            <a:r>
              <a:rPr lang="en-GB" dirty="0" err="1"/>
              <a:t>derniers</a:t>
            </a:r>
            <a:r>
              <a:rPr lang="en-GB" dirty="0"/>
              <a:t> </a:t>
            </a:r>
            <a:r>
              <a:rPr lang="en-GB" dirty="0" err="1"/>
              <a:t>cas</a:t>
            </a:r>
            <a:r>
              <a:rPr lang="en-GB" dirty="0"/>
              <a:t> de polio:</a:t>
            </a:r>
          </a:p>
          <a:p>
            <a:r>
              <a:rPr lang="en-GB" noProof="0" dirty="0"/>
              <a:t>Les </a:t>
            </a:r>
            <a:r>
              <a:rPr lang="en-GB" noProof="0" dirty="0" err="1"/>
              <a:t>Ameriques</a:t>
            </a:r>
            <a:r>
              <a:rPr lang="en-GB" noProof="0" dirty="0"/>
              <a:t> (</a:t>
            </a:r>
            <a:r>
              <a:rPr lang="en-GB" noProof="0" dirty="0" err="1"/>
              <a:t>Perou</a:t>
            </a:r>
            <a:r>
              <a:rPr lang="en-GB" noProof="0" dirty="0"/>
              <a:t>) </a:t>
            </a:r>
            <a:r>
              <a:rPr lang="en-GB" noProof="0" dirty="0" err="1"/>
              <a:t>en</a:t>
            </a:r>
            <a:r>
              <a:rPr lang="en-GB" noProof="0" dirty="0"/>
              <a:t> 1991:  Luis </a:t>
            </a:r>
            <a:r>
              <a:rPr lang="en-GB" noProof="0" dirty="0" err="1"/>
              <a:t>Fermin</a:t>
            </a:r>
            <a:r>
              <a:rPr lang="en-GB" noProof="0" dirty="0"/>
              <a:t> </a:t>
            </a:r>
            <a:r>
              <a:rPr lang="en-GB" noProof="0" dirty="0" err="1"/>
              <a:t>Tenoria</a:t>
            </a:r>
            <a:endParaRPr lang="en-GB" noProof="0" dirty="0"/>
          </a:p>
          <a:p>
            <a:r>
              <a:rPr lang="en-GB" dirty="0"/>
              <a:t>Le </a:t>
            </a:r>
            <a:r>
              <a:rPr lang="en-GB" dirty="0" err="1"/>
              <a:t>Pacifique</a:t>
            </a:r>
            <a:r>
              <a:rPr lang="en-GB" dirty="0"/>
              <a:t> </a:t>
            </a:r>
            <a:r>
              <a:rPr lang="en-GB" dirty="0" err="1"/>
              <a:t>occidentale</a:t>
            </a:r>
            <a:r>
              <a:rPr lang="en-GB" dirty="0"/>
              <a:t> (</a:t>
            </a:r>
            <a:r>
              <a:rPr lang="en-GB" dirty="0" err="1"/>
              <a:t>Cambodge</a:t>
            </a:r>
            <a:r>
              <a:rPr lang="en-GB" dirty="0"/>
              <a:t>) </a:t>
            </a:r>
            <a:r>
              <a:rPr lang="en-GB" dirty="0" err="1"/>
              <a:t>en</a:t>
            </a:r>
            <a:r>
              <a:rPr lang="en-GB" dirty="0"/>
              <a:t> 1997:  Mom Chanty</a:t>
            </a:r>
          </a:p>
          <a:p>
            <a:r>
              <a:rPr lang="en-GB" noProof="0" dirty="0" err="1"/>
              <a:t>L'Europe</a:t>
            </a:r>
            <a:r>
              <a:rPr lang="en-GB" noProof="0" dirty="0"/>
              <a:t> (la </a:t>
            </a:r>
            <a:r>
              <a:rPr lang="en-GB" noProof="0" dirty="0" err="1"/>
              <a:t>Turquie</a:t>
            </a:r>
            <a:r>
              <a:rPr lang="en-GB" noProof="0" dirty="0"/>
              <a:t>) </a:t>
            </a:r>
            <a:r>
              <a:rPr lang="en-GB" noProof="0" dirty="0" err="1"/>
              <a:t>en</a:t>
            </a:r>
            <a:r>
              <a:rPr lang="en-GB" noProof="0" dirty="0"/>
              <a:t> 1998:  </a:t>
            </a:r>
            <a:r>
              <a:rPr lang="en-GB" noProof="0" dirty="0" err="1"/>
              <a:t>Melik</a:t>
            </a:r>
            <a:r>
              <a:rPr lang="en-GB" noProof="0" dirty="0"/>
              <a:t> Minas</a:t>
            </a:r>
          </a:p>
          <a:p>
            <a:r>
              <a:rPr lang="en-GB" dirty="0" err="1"/>
              <a:t>L'Asie</a:t>
            </a:r>
            <a:r>
              <a:rPr lang="en-GB" dirty="0"/>
              <a:t> </a:t>
            </a:r>
            <a:r>
              <a:rPr lang="en-GB" dirty="0" err="1"/>
              <a:t>Sud-est</a:t>
            </a:r>
            <a:r>
              <a:rPr lang="en-GB" dirty="0"/>
              <a:t> (</a:t>
            </a:r>
            <a:r>
              <a:rPr lang="en-GB" dirty="0" err="1"/>
              <a:t>Inde</a:t>
            </a:r>
            <a:r>
              <a:rPr lang="en-GB" dirty="0"/>
              <a:t>) </a:t>
            </a:r>
            <a:r>
              <a:rPr lang="en-GB" dirty="0" err="1"/>
              <a:t>en</a:t>
            </a:r>
            <a:r>
              <a:rPr lang="en-GB" dirty="0"/>
              <a:t> 2011:  </a:t>
            </a:r>
            <a:r>
              <a:rPr lang="en-GB" dirty="0" err="1"/>
              <a:t>Rukhsar</a:t>
            </a:r>
            <a:r>
              <a:rPr lang="en-GB" dirty="0"/>
              <a:t> </a:t>
            </a:r>
            <a:r>
              <a:rPr lang="en-GB" dirty="0" err="1"/>
              <a:t>Khatoon</a:t>
            </a:r>
            <a:endParaRPr lang="fr-FR" noProof="0" dirty="0"/>
          </a:p>
        </p:txBody>
      </p:sp>
    </p:spTree>
    <p:extLst>
      <p:ext uri="{BB962C8B-B14F-4D97-AF65-F5344CB8AC3E}">
        <p14:creationId xmlns:p14="http://schemas.microsoft.com/office/powerpoint/2010/main" val="34394283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84728189-A859-4B5F-8E83-064C25AC83ED}" type="slidenum">
              <a:rPr kumimoji="0" lang="en-GB" sz="2400" b="0" i="0" u="none" strike="noStrike" kern="1200" cap="none" spc="0" normalizeH="0" baseline="0" noProof="0" smtClean="0">
                <a:ln>
                  <a:noFill/>
                </a:ln>
                <a:solidFill>
                  <a:srgbClr val="FFFFFF"/>
                </a:solidFill>
                <a:effectLst/>
                <a:uLnTx/>
                <a:uFillTx/>
                <a:latin typeface="Times New Roman" pitchFamily="18" charset="0"/>
                <a:cs typeface="Lucida Sans Unicode" pitchFamily="34" charset="0"/>
              </a:rPr>
              <a:pPr marL="0" marR="0" lvl="0" indent="0" algn="l" defTabSz="914400" rtl="0" eaLnBrk="0" fontAlgn="base" latinLnBrk="0" hangingPunct="0">
                <a:lnSpc>
                  <a:spcPct val="100000"/>
                </a:lnSpc>
                <a:spcBef>
                  <a:spcPct val="0"/>
                </a:spcBef>
                <a:spcAft>
                  <a:spcPct val="0"/>
                </a:spcAft>
                <a:buClrTx/>
                <a:buSzTx/>
                <a:buFontTx/>
                <a:buNone/>
                <a:tabLst/>
                <a:defRPr/>
              </a:pPr>
              <a:t>6</a:t>
            </a:fld>
            <a:endParaRPr kumimoji="0" lang="en-GB" sz="2400" b="0" i="0" u="none" strike="noStrike" kern="1200" cap="none" spc="0" normalizeH="0" baseline="0" noProof="0">
              <a:ln>
                <a:noFill/>
              </a:ln>
              <a:solidFill>
                <a:srgbClr val="FFFFFF"/>
              </a:solidFill>
              <a:effectLst/>
              <a:uLnTx/>
              <a:uFillTx/>
              <a:latin typeface="Times New Roman" pitchFamily="18" charset="0"/>
              <a:cs typeface="Lucida Sans Unicode" pitchFamily="34" charset="0"/>
            </a:endParaRPr>
          </a:p>
        </p:txBody>
      </p:sp>
      <p:sp>
        <p:nvSpPr>
          <p:cNvPr id="5" name="Rectangle 3"/>
          <p:cNvSpPr>
            <a:spLocks noGrp="1" noChangeArrowheads="1"/>
          </p:cNvSpPr>
          <p:nvPr>
            <p:ph type="body" idx="3"/>
          </p:nvPr>
        </p:nvSpPr>
        <p:spPr>
          <a:xfrm>
            <a:off x="681838" y="4721940"/>
            <a:ext cx="5445113" cy="4473416"/>
          </a:xfrm>
          <a:noFill/>
        </p:spPr>
        <p:txBody>
          <a:bodyPr/>
          <a:lstStyle/>
          <a:p>
            <a:r>
              <a:rPr lang="en-GB" altLang="en-US" dirty="0" err="1"/>
              <a:t>Biologiquement</a:t>
            </a:r>
            <a:r>
              <a:rPr lang="en-GB" altLang="en-US" dirty="0"/>
              <a:t> </a:t>
            </a:r>
            <a:r>
              <a:rPr lang="en-GB" altLang="en-US" dirty="0" err="1"/>
              <a:t>aussi</a:t>
            </a:r>
            <a:r>
              <a:rPr lang="en-GB" altLang="en-US" dirty="0"/>
              <a:t>, nous </a:t>
            </a:r>
            <a:r>
              <a:rPr lang="en-GB" altLang="en-US" dirty="0" err="1"/>
              <a:t>sommes</a:t>
            </a:r>
            <a:r>
              <a:rPr lang="en-GB" altLang="en-US" dirty="0"/>
              <a:t> plus </a:t>
            </a:r>
            <a:r>
              <a:rPr lang="en-GB" altLang="en-US" dirty="0" err="1"/>
              <a:t>proches</a:t>
            </a:r>
            <a:r>
              <a:rPr lang="en-GB" altLang="en-US" dirty="0"/>
              <a:t> que jamais.  2 des 3 types de poliovirus </a:t>
            </a:r>
            <a:r>
              <a:rPr lang="en-GB" altLang="en-US" dirty="0" err="1"/>
              <a:t>sont</a:t>
            </a:r>
            <a:r>
              <a:rPr lang="en-GB" altLang="en-US" dirty="0"/>
              <a:t> </a:t>
            </a:r>
            <a:r>
              <a:rPr lang="en-GB" altLang="en-US" dirty="0" err="1"/>
              <a:t>eradiquer</a:t>
            </a:r>
            <a:r>
              <a:rPr lang="en-GB" altLang="en-US" dirty="0"/>
              <a:t>.</a:t>
            </a:r>
          </a:p>
          <a:p>
            <a:br>
              <a:rPr lang="en-GB" altLang="en-US" dirty="0"/>
            </a:br>
            <a:r>
              <a:rPr lang="en-GB" altLang="en-US" dirty="0" err="1"/>
              <a:t>Cela</a:t>
            </a:r>
            <a:r>
              <a:rPr lang="en-GB" altLang="en-US" dirty="0"/>
              <a:t> </a:t>
            </a:r>
            <a:r>
              <a:rPr lang="en-GB" altLang="en-US" dirty="0" err="1"/>
              <a:t>demontre</a:t>
            </a:r>
            <a:r>
              <a:rPr lang="en-GB" altLang="en-US" dirty="0"/>
              <a:t> le </a:t>
            </a:r>
            <a:r>
              <a:rPr lang="en-GB" altLang="en-US" dirty="0" err="1"/>
              <a:t>progres</a:t>
            </a:r>
            <a:r>
              <a:rPr lang="en-GB" altLang="en-US" dirty="0"/>
              <a:t>, et a </a:t>
            </a:r>
            <a:r>
              <a:rPr lang="en-GB" altLang="en-US" dirty="0" err="1"/>
              <a:t>aussi</a:t>
            </a:r>
            <a:r>
              <a:rPr lang="en-GB" altLang="en-US" dirty="0"/>
              <a:t> </a:t>
            </a:r>
            <a:r>
              <a:rPr lang="en-GB" altLang="en-US" dirty="0" err="1"/>
              <a:t>d'important</a:t>
            </a:r>
            <a:r>
              <a:rPr lang="en-GB" altLang="en-US" dirty="0"/>
              <a:t> </a:t>
            </a:r>
            <a:r>
              <a:rPr lang="en-GB" altLang="en-US" dirty="0" err="1"/>
              <a:t>avantage</a:t>
            </a:r>
            <a:r>
              <a:rPr lang="en-GB" altLang="en-US" dirty="0"/>
              <a:t> </a:t>
            </a:r>
            <a:r>
              <a:rPr lang="en-GB" altLang="en-US" dirty="0" err="1"/>
              <a:t>operationnel</a:t>
            </a:r>
            <a:r>
              <a:rPr lang="en-GB" altLang="en-US" dirty="0"/>
              <a:t>.  Car nous </a:t>
            </a:r>
            <a:r>
              <a:rPr lang="en-GB" altLang="en-US" dirty="0" err="1"/>
              <a:t>avons</a:t>
            </a:r>
            <a:r>
              <a:rPr lang="en-GB" altLang="en-US" dirty="0"/>
              <a:t> des </a:t>
            </a:r>
            <a:r>
              <a:rPr lang="en-GB" altLang="en-US" dirty="0" err="1"/>
              <a:t>vaccins</a:t>
            </a:r>
            <a:r>
              <a:rPr lang="en-GB" altLang="en-US" dirty="0"/>
              <a:t> </a:t>
            </a:r>
            <a:r>
              <a:rPr lang="en-GB" altLang="en-US" dirty="0" err="1"/>
              <a:t>sero-specifique</a:t>
            </a:r>
            <a:r>
              <a:rPr lang="en-GB" altLang="en-US" dirty="0"/>
              <a:t>, avec </a:t>
            </a:r>
            <a:r>
              <a:rPr lang="en-GB" altLang="en-US" dirty="0" err="1"/>
              <a:t>lesquels</a:t>
            </a:r>
            <a:r>
              <a:rPr lang="en-GB" altLang="en-US" dirty="0"/>
              <a:t> nous </a:t>
            </a:r>
            <a:r>
              <a:rPr lang="en-GB" altLang="en-US" dirty="0" err="1"/>
              <a:t>pouvons</a:t>
            </a:r>
            <a:r>
              <a:rPr lang="en-GB" altLang="en-US" dirty="0"/>
              <a:t> </a:t>
            </a:r>
            <a:r>
              <a:rPr lang="en-GB" altLang="en-US" dirty="0" err="1"/>
              <a:t>cibler</a:t>
            </a:r>
            <a:r>
              <a:rPr lang="en-GB" altLang="en-US" dirty="0"/>
              <a:t> le dernier type beaucoup plus </a:t>
            </a:r>
            <a:r>
              <a:rPr lang="en-GB" altLang="en-US" dirty="0" err="1"/>
              <a:t>efficacement</a:t>
            </a:r>
            <a:r>
              <a:rPr lang="en-GB" altLang="en-US" dirty="0"/>
              <a:t>.  </a:t>
            </a:r>
          </a:p>
          <a:p>
            <a:endParaRPr lang="en-GB" altLang="en-US" dirty="0"/>
          </a:p>
          <a:p>
            <a:r>
              <a:rPr lang="en-GB" altLang="en-US" dirty="0" err="1"/>
              <a:t>Cela</a:t>
            </a:r>
            <a:r>
              <a:rPr lang="en-GB" altLang="en-US" dirty="0"/>
              <a:t> </a:t>
            </a:r>
            <a:r>
              <a:rPr lang="en-GB" altLang="en-US" dirty="0" err="1"/>
              <a:t>est</a:t>
            </a:r>
            <a:r>
              <a:rPr lang="en-GB" altLang="en-US" dirty="0"/>
              <a:t> </a:t>
            </a:r>
            <a:r>
              <a:rPr lang="en-GB" altLang="en-US" dirty="0" err="1"/>
              <a:t>particulierement</a:t>
            </a:r>
            <a:r>
              <a:rPr lang="en-GB" altLang="en-US" dirty="0"/>
              <a:t> important dans des zones de </a:t>
            </a:r>
            <a:r>
              <a:rPr lang="en-GB" altLang="en-US" dirty="0" err="1"/>
              <a:t>insecurite</a:t>
            </a:r>
            <a:r>
              <a:rPr lang="en-GB" altLang="en-US" dirty="0"/>
              <a:t>:  </a:t>
            </a:r>
            <a:r>
              <a:rPr lang="en-GB" altLang="en-US" dirty="0" err="1"/>
              <a:t>si</a:t>
            </a:r>
            <a:r>
              <a:rPr lang="en-GB" altLang="en-US" dirty="0"/>
              <a:t> nous </a:t>
            </a:r>
            <a:r>
              <a:rPr lang="en-GB" altLang="en-US" dirty="0" err="1"/>
              <a:t>reuissons</a:t>
            </a:r>
            <a:r>
              <a:rPr lang="en-GB" altLang="en-US" dirty="0"/>
              <a:t> a </a:t>
            </a:r>
            <a:r>
              <a:rPr lang="en-GB" altLang="en-US" dirty="0" err="1"/>
              <a:t>vacciner</a:t>
            </a:r>
            <a:r>
              <a:rPr lang="en-GB" altLang="en-US" dirty="0"/>
              <a:t> un enfant, nous </a:t>
            </a:r>
            <a:r>
              <a:rPr lang="en-GB" altLang="en-US" dirty="0" err="1"/>
              <a:t>voulons</a:t>
            </a:r>
            <a:r>
              <a:rPr lang="en-GB" altLang="en-US" dirty="0"/>
              <a:t> nous assurer que nous le </a:t>
            </a:r>
            <a:r>
              <a:rPr lang="en-GB" altLang="en-US" dirty="0" err="1"/>
              <a:t>faisons</a:t>
            </a:r>
            <a:r>
              <a:rPr lang="en-GB" altLang="en-US" dirty="0"/>
              <a:t> avec le </a:t>
            </a:r>
            <a:r>
              <a:rPr lang="en-GB" altLang="en-US" dirty="0" err="1"/>
              <a:t>meilleur</a:t>
            </a:r>
            <a:r>
              <a:rPr lang="en-GB" altLang="en-US" dirty="0"/>
              <a:t> </a:t>
            </a:r>
            <a:r>
              <a:rPr lang="en-GB" altLang="en-US" dirty="0" err="1"/>
              <a:t>outil</a:t>
            </a:r>
            <a:r>
              <a:rPr lang="en-GB" altLang="en-US" dirty="0"/>
              <a:t> </a:t>
            </a:r>
            <a:r>
              <a:rPr lang="en-GB" altLang="en-US" dirty="0" err="1"/>
              <a:t>qu'on</a:t>
            </a:r>
            <a:r>
              <a:rPr lang="en-GB" altLang="en-US" dirty="0"/>
              <a:t> a. </a:t>
            </a:r>
            <a:endParaRPr lang="en-US" altLang="en-US" dirty="0"/>
          </a:p>
        </p:txBody>
      </p:sp>
    </p:spTree>
    <p:extLst>
      <p:ext uri="{BB962C8B-B14F-4D97-AF65-F5344CB8AC3E}">
        <p14:creationId xmlns:p14="http://schemas.microsoft.com/office/powerpoint/2010/main" val="32070393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3BE9AB0-FA88-40A6-A993-43F2683562F9}" type="slidenum">
              <a:rPr lang="en-US" smtClean="0"/>
              <a:t>7</a:t>
            </a:fld>
            <a:endParaRPr lang="en-US"/>
          </a:p>
        </p:txBody>
      </p:sp>
    </p:spTree>
    <p:extLst>
      <p:ext uri="{BB962C8B-B14F-4D97-AF65-F5344CB8AC3E}">
        <p14:creationId xmlns:p14="http://schemas.microsoft.com/office/powerpoint/2010/main" val="548457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3BE9AB0-FA88-40A6-A993-43F2683562F9}" type="slidenum">
              <a:rPr lang="en-US" smtClean="0"/>
              <a:t>9</a:t>
            </a:fld>
            <a:endParaRPr lang="en-US"/>
          </a:p>
        </p:txBody>
      </p:sp>
    </p:spTree>
    <p:extLst>
      <p:ext uri="{BB962C8B-B14F-4D97-AF65-F5344CB8AC3E}">
        <p14:creationId xmlns:p14="http://schemas.microsoft.com/office/powerpoint/2010/main" val="41290899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3BE9AB0-FA88-40A6-A993-43F2683562F9}" type="slidenum">
              <a:rPr lang="en-US" smtClean="0"/>
              <a:t>10</a:t>
            </a:fld>
            <a:endParaRPr lang="en-US"/>
          </a:p>
        </p:txBody>
      </p:sp>
    </p:spTree>
    <p:extLst>
      <p:ext uri="{BB962C8B-B14F-4D97-AF65-F5344CB8AC3E}">
        <p14:creationId xmlns:p14="http://schemas.microsoft.com/office/powerpoint/2010/main" val="22199176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2.xml"/><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lide Number Placeholder 5"/>
          <p:cNvSpPr>
            <a:spLocks noGrp="1"/>
          </p:cNvSpPr>
          <p:nvPr>
            <p:ph type="sldNum" sz="quarter" idx="11"/>
          </p:nvPr>
        </p:nvSpPr>
        <p:spPr/>
        <p:txBody>
          <a:bodyPr/>
          <a:lstStyle>
            <a:lvl1pPr defTabSz="914400">
              <a:defRPr/>
            </a:lvl1pPr>
          </a:lstStyle>
          <a:p>
            <a:pPr>
              <a:defRPr/>
            </a:pPr>
            <a:fld id="{3445BD1D-7F01-4766-9D76-15116978EDA8}" type="slidenum">
              <a:rPr lang="en-US"/>
              <a:pPr>
                <a:defRPr/>
              </a:pPr>
              <a:t>‹N°›</a:t>
            </a:fld>
            <a:endParaRPr lang="en-US" dirty="0"/>
          </a:p>
        </p:txBody>
      </p:sp>
    </p:spTree>
    <p:extLst>
      <p:ext uri="{BB962C8B-B14F-4D97-AF65-F5344CB8AC3E}">
        <p14:creationId xmlns:p14="http://schemas.microsoft.com/office/powerpoint/2010/main" val="25851132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endParaRPr lang="en-US"/>
          </a:p>
        </p:txBody>
      </p:sp>
      <p:sp>
        <p:nvSpPr>
          <p:cNvPr id="3" name="Slide Number Placeholder 5"/>
          <p:cNvSpPr>
            <a:spLocks noGrp="1"/>
          </p:cNvSpPr>
          <p:nvPr>
            <p:ph type="sldNum" sz="quarter" idx="11"/>
          </p:nvPr>
        </p:nvSpPr>
        <p:spPr/>
        <p:txBody>
          <a:bodyPr/>
          <a:lstStyle>
            <a:lvl1pPr>
              <a:defRPr/>
            </a:lvl1pPr>
          </a:lstStyle>
          <a:p>
            <a:pPr>
              <a:defRPr/>
            </a:pPr>
            <a:fld id="{48191064-2E5B-41BE-9E6F-A9927B9AA32C}" type="slidenum">
              <a:rPr lang="en-US"/>
              <a:pPr>
                <a:defRPr/>
              </a:pPr>
              <a:t>‹N°›</a:t>
            </a:fld>
            <a:endParaRPr lang="en-US" dirty="0"/>
          </a:p>
        </p:txBody>
      </p:sp>
    </p:spTree>
    <p:extLst>
      <p:ext uri="{BB962C8B-B14F-4D97-AF65-F5344CB8AC3E}">
        <p14:creationId xmlns:p14="http://schemas.microsoft.com/office/powerpoint/2010/main" val="8892119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42" y="1718734"/>
            <a:ext cx="11106150" cy="4519084"/>
          </a:xfrm>
          <a:prstGeom prst="rect">
            <a:avLst/>
          </a:prstGeom>
        </p:spPr>
        <p:txBody>
          <a:bodyPr/>
          <a:lstStyle>
            <a:lvl1pPr>
              <a:spcBef>
                <a:spcPts val="600"/>
              </a:spcBef>
              <a:spcAft>
                <a:spcPts val="0"/>
              </a:spcAft>
              <a:defRPr sz="1400" b="0" baseline="0"/>
            </a:lvl1pPr>
            <a:lvl2pPr marL="171450" indent="-171450">
              <a:spcBef>
                <a:spcPts val="600"/>
              </a:spcBef>
              <a:spcAft>
                <a:spcPts val="0"/>
              </a:spcAft>
              <a:buClr>
                <a:schemeClr val="accent3">
                  <a:lumMod val="75000"/>
                </a:schemeClr>
              </a:buClr>
              <a:buFont typeface="Wingdings" panose="05000000000000000000" pitchFamily="2" charset="2"/>
              <a:buChar char="§"/>
              <a:defRPr sz="1300"/>
            </a:lvl2pPr>
            <a:lvl3pPr marL="342900" indent="-171450">
              <a:spcBef>
                <a:spcPts val="600"/>
              </a:spcBef>
              <a:spcAft>
                <a:spcPts val="0"/>
              </a:spcAft>
              <a:buClr>
                <a:srgbClr val="3086AB"/>
              </a:buClr>
              <a:buFont typeface="Arial" panose="020B0604020202020204" pitchFamily="34" charset="0"/>
              <a:buChar char="•"/>
              <a:tabLst/>
              <a:defRPr sz="1200" baseline="0"/>
            </a:lvl3pPr>
            <a:lvl4pPr marL="515938" indent="-173038">
              <a:spcBef>
                <a:spcPts val="600"/>
              </a:spcBef>
              <a:spcAft>
                <a:spcPts val="0"/>
              </a:spcAft>
              <a:buFont typeface="Arial" panose="020B0604020202020204" pitchFamily="34" charset="0"/>
              <a:buChar char="-"/>
              <a:tabLst/>
              <a:defRPr baseline="0"/>
            </a:lvl4pPr>
            <a:lvl5pPr marL="687388" indent="-171450">
              <a:spcBef>
                <a:spcPts val="6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a:xfrm>
            <a:off x="7498086" y="6527945"/>
            <a:ext cx="3860800" cy="207464"/>
          </a:xfrm>
          <a:prstGeom prst="rect">
            <a:avLst/>
          </a:prstGeom>
        </p:spPr>
        <p:txBody>
          <a:bodyPr/>
          <a:lstStyle/>
          <a:p>
            <a:pPr algn="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N°›</a:t>
            </a:fld>
            <a:endParaRPr lang="en-US" dirty="0">
              <a:solidFill>
                <a:srgbClr val="000000"/>
              </a:solidFill>
            </a:endParaRPr>
          </a:p>
        </p:txBody>
      </p:sp>
      <p:sp>
        <p:nvSpPr>
          <p:cNvPr id="2" name="Title 1"/>
          <p:cNvSpPr>
            <a:spLocks noGrp="1"/>
          </p:cNvSpPr>
          <p:nvPr>
            <p:ph type="title" hasCustomPrompt="1"/>
          </p:nvPr>
        </p:nvSpPr>
        <p:spPr>
          <a:xfrm>
            <a:off x="486842" y="646258"/>
            <a:ext cx="11106150" cy="697577"/>
          </a:xfrm>
          <a:prstGeom prst="rect">
            <a:avLst/>
          </a:prstGeo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9660028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838201" y="6356365"/>
            <a:ext cx="2743200" cy="365125"/>
          </a:xfrm>
          <a:prstGeom prst="rect">
            <a:avLst/>
          </a:prstGeom>
        </p:spPr>
        <p:txBody>
          <a:bodyPr/>
          <a:lstStyle/>
          <a:p>
            <a:endParaRPr lang="en-US" dirty="0"/>
          </a:p>
        </p:txBody>
      </p:sp>
      <p:sp>
        <p:nvSpPr>
          <p:cNvPr id="4" name="Footer Placeholder 3"/>
          <p:cNvSpPr>
            <a:spLocks noGrp="1"/>
          </p:cNvSpPr>
          <p:nvPr>
            <p:ph type="ftr" sz="quarter" idx="11"/>
          </p:nvPr>
        </p:nvSpPr>
        <p:spPr>
          <a:xfrm>
            <a:off x="4038602" y="6356365"/>
            <a:ext cx="4114799" cy="365125"/>
          </a:xfrm>
          <a:prstGeom prst="rect">
            <a:avLst/>
          </a:prstGeom>
        </p:spPr>
        <p:txBody>
          <a:bodyPr/>
          <a:lstStyle/>
          <a:p>
            <a:endParaRPr lang="en-US" dirty="0"/>
          </a:p>
        </p:txBody>
      </p:sp>
      <p:sp>
        <p:nvSpPr>
          <p:cNvPr id="18" name="Title 1"/>
          <p:cNvSpPr>
            <a:spLocks noGrp="1"/>
          </p:cNvSpPr>
          <p:nvPr>
            <p:ph type="ctrTitle"/>
          </p:nvPr>
        </p:nvSpPr>
        <p:spPr>
          <a:xfrm>
            <a:off x="773291" y="407994"/>
            <a:ext cx="10363200" cy="506413"/>
          </a:xfrm>
          <a:prstGeom prst="rect">
            <a:avLst/>
          </a:prstGeom>
        </p:spPr>
        <p:txBody>
          <a:bodyPr/>
          <a:lstStyle>
            <a:lvl1pPr algn="l">
              <a:defRPr sz="2800" b="0">
                <a:solidFill>
                  <a:srgbClr val="333399"/>
                </a:solidFill>
                <a:latin typeface="Arial"/>
                <a:cs typeface="Arial"/>
              </a:defRPr>
            </a:lvl1pPr>
          </a:lstStyle>
          <a:p>
            <a:r>
              <a:rPr lang="en-US"/>
              <a:t>Click to edit Master title style</a:t>
            </a:r>
            <a:endParaRPr lang="en-US" dirty="0"/>
          </a:p>
        </p:txBody>
      </p:sp>
      <p:sp>
        <p:nvSpPr>
          <p:cNvPr id="5" name="Slide Number Placeholder 4"/>
          <p:cNvSpPr>
            <a:spLocks noGrp="1"/>
          </p:cNvSpPr>
          <p:nvPr>
            <p:ph type="sldNum" sz="quarter" idx="12"/>
          </p:nvPr>
        </p:nvSpPr>
        <p:spPr>
          <a:xfrm>
            <a:off x="8610599" y="6356365"/>
            <a:ext cx="2743200" cy="365125"/>
          </a:xfrm>
          <a:prstGeom prst="rect">
            <a:avLst/>
          </a:prstGeom>
        </p:spPr>
        <p:txBody>
          <a:bodyPr/>
          <a:lstStyle/>
          <a:p>
            <a:endParaRPr lang="en-US" dirty="0"/>
          </a:p>
          <a:p>
            <a:fld id="{20E72F2D-B2AC-6244-8A61-4DB2981BEBB5}" type="slidenum">
              <a:rPr lang="en-US" smtClean="0"/>
              <a:pPr/>
              <a:t>‹N°›</a:t>
            </a:fld>
            <a:endParaRPr lang="en-US" dirty="0"/>
          </a:p>
          <a:p>
            <a:endParaRPr lang="en-US" dirty="0"/>
          </a:p>
        </p:txBody>
      </p:sp>
      <p:sp>
        <p:nvSpPr>
          <p:cNvPr id="11" name="Text Placeholder 10"/>
          <p:cNvSpPr>
            <a:spLocks noGrp="1"/>
          </p:cNvSpPr>
          <p:nvPr>
            <p:ph type="body" sz="quarter" idx="14"/>
          </p:nvPr>
        </p:nvSpPr>
        <p:spPr>
          <a:xfrm>
            <a:off x="772594" y="1574800"/>
            <a:ext cx="10606615" cy="3492500"/>
          </a:xfrm>
          <a:prstGeom prst="rect">
            <a:avLst/>
          </a:prstGeom>
        </p:spPr>
        <p:txBody>
          <a:bodyPr vert="horz"/>
          <a:lstStyle>
            <a:lvl1pPr>
              <a:defRPr sz="2800">
                <a:latin typeface="Arial"/>
                <a:cs typeface="Arial"/>
              </a:defRPr>
            </a:lvl1pPr>
            <a:lvl2pPr>
              <a:defRPr sz="2400">
                <a:latin typeface="Arial"/>
                <a:cs typeface="Arial"/>
              </a:defRPr>
            </a:lvl2pPr>
            <a:lvl3pPr>
              <a:defRPr>
                <a:latin typeface="Arial"/>
                <a:cs typeface="Arial"/>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187091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Section Header">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751671" y="482572"/>
            <a:ext cx="10623549" cy="512961"/>
          </a:xfrm>
          <a:prstGeom prst="rect">
            <a:avLst/>
          </a:prstGeom>
        </p:spPr>
        <p:txBody>
          <a:bodyPr anchor="t" anchorCtr="0">
            <a:noAutofit/>
          </a:bodyPr>
          <a:lstStyle>
            <a:lvl1pPr algn="l" defTabSz="685700" rtl="0" eaLnBrk="1" latinLnBrk="0" hangingPunct="1">
              <a:lnSpc>
                <a:spcPct val="100000"/>
              </a:lnSpc>
              <a:spcBef>
                <a:spcPct val="0"/>
              </a:spcBef>
              <a:buNone/>
              <a:defRPr lang="en-US" sz="1800" b="1" kern="1200" cap="none" spc="0" baseline="0" dirty="0">
                <a:ln w="3175">
                  <a:noFill/>
                </a:ln>
                <a:solidFill>
                  <a:srgbClr val="C00000"/>
                </a:solidFill>
                <a:effectLst/>
                <a:latin typeface="+mj-lt"/>
                <a:ea typeface="+mn-ea"/>
                <a:cs typeface="Arial" charset="0"/>
              </a:defRPr>
            </a:lvl1pPr>
          </a:lstStyle>
          <a:p>
            <a:r>
              <a:rPr lang="en-US"/>
              <a:t>Click to edit Master title style</a:t>
            </a:r>
            <a:endParaRPr lang="en-US" dirty="0"/>
          </a:p>
        </p:txBody>
      </p:sp>
      <p:sp>
        <p:nvSpPr>
          <p:cNvPr id="6" name="Slide Number Placeholder 5"/>
          <p:cNvSpPr>
            <a:spLocks noGrp="1"/>
          </p:cNvSpPr>
          <p:nvPr>
            <p:ph type="sldNum" sz="quarter" idx="12"/>
          </p:nvPr>
        </p:nvSpPr>
        <p:spPr>
          <a:xfrm>
            <a:off x="11193961" y="6461502"/>
            <a:ext cx="588433" cy="365125"/>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smtClean="0">
                <a:solidFill>
                  <a:srgbClr val="59452A"/>
                </a:solidFill>
              </a:rPr>
              <a:pPr defTabSz="685700"/>
              <a:t>‹N°›</a:t>
            </a:fld>
            <a:endParaRPr lang="en-US" dirty="0">
              <a:solidFill>
                <a:srgbClr val="59452A"/>
              </a:solidFill>
            </a:endParaRPr>
          </a:p>
        </p:txBody>
      </p:sp>
      <p:sp>
        <p:nvSpPr>
          <p:cNvPr id="8" name="Text Placeholder 11"/>
          <p:cNvSpPr>
            <a:spLocks noGrp="1"/>
          </p:cNvSpPr>
          <p:nvPr>
            <p:ph type="body" sz="quarter" idx="13"/>
          </p:nvPr>
        </p:nvSpPr>
        <p:spPr>
          <a:xfrm>
            <a:off x="750371" y="1531737"/>
            <a:ext cx="10602382" cy="4378396"/>
          </a:xfrm>
          <a:prstGeom prst="rect">
            <a:avLst/>
          </a:prstGeo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35327993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2" y="-26988"/>
            <a:ext cx="12188238" cy="1270001"/>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549314" y="1557346"/>
            <a:ext cx="5506247" cy="479583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6236149" y="1557346"/>
            <a:ext cx="5508127" cy="4795837"/>
          </a:xfrm>
          <a:prstGeom prst="rect">
            <a:avLst/>
          </a:prstGeom>
        </p:spPr>
        <p:txBody>
          <a:bodyPr/>
          <a:lstStyle/>
          <a:p>
            <a:pPr lvl="0"/>
            <a:endParaRPr lang="en-US" noProof="0"/>
          </a:p>
        </p:txBody>
      </p:sp>
    </p:spTree>
    <p:extLst>
      <p:ext uri="{BB962C8B-B14F-4D97-AF65-F5344CB8AC3E}">
        <p14:creationId xmlns:p14="http://schemas.microsoft.com/office/powerpoint/2010/main" val="36539375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259" y="2130436"/>
            <a:ext cx="10363482"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519" y="3886200"/>
            <a:ext cx="8534965"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39928916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 y="-26988"/>
            <a:ext cx="12188238" cy="1270001"/>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927290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Slide Number Placeholder 5"/>
          <p:cNvSpPr>
            <a:spLocks noGrp="1"/>
          </p:cNvSpPr>
          <p:nvPr>
            <p:ph type="sldNum" sz="quarter" idx="11"/>
          </p:nvPr>
        </p:nvSpPr>
        <p:spPr/>
        <p:txBody>
          <a:bodyPr/>
          <a:lstStyle>
            <a:lvl1pPr>
              <a:defRPr/>
            </a:lvl1pPr>
          </a:lstStyle>
          <a:p>
            <a:pPr>
              <a:defRPr/>
            </a:pPr>
            <a:fld id="{9D80A85F-EE2E-4277-B276-33FB34979C62}" type="slidenum">
              <a:rPr lang="en-US" smtClean="0"/>
              <a:pPr>
                <a:defRPr/>
              </a:pPr>
              <a:t>‹N°›</a:t>
            </a:fld>
            <a:endParaRPr lang="en-US" dirty="0"/>
          </a:p>
        </p:txBody>
      </p:sp>
    </p:spTree>
    <p:extLst>
      <p:ext uri="{BB962C8B-B14F-4D97-AF65-F5344CB8AC3E}">
        <p14:creationId xmlns:p14="http://schemas.microsoft.com/office/powerpoint/2010/main" val="2445609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4" y="274638"/>
            <a:ext cx="10972800" cy="1143000"/>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609604" y="1600206"/>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fld id="{03D5B703-056F-479E-8893-F9987D298CDC}" type="slidenum">
              <a:rPr lang="en-GB" smtClean="0"/>
              <a:pPr/>
              <a:t>‹N°›</a:t>
            </a:fld>
            <a:endParaRPr lang="en-GB"/>
          </a:p>
        </p:txBody>
      </p:sp>
    </p:spTree>
    <p:extLst>
      <p:ext uri="{BB962C8B-B14F-4D97-AF65-F5344CB8AC3E}">
        <p14:creationId xmlns:p14="http://schemas.microsoft.com/office/powerpoint/2010/main" val="4882756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a:xfrm>
            <a:off x="2429937" y="6604000"/>
            <a:ext cx="9084733" cy="254000"/>
          </a:xfrm>
          <a:prstGeom prst="rect">
            <a:avLst/>
          </a:prstGeom>
        </p:spPr>
        <p:txBody>
          <a:bodyPr/>
          <a:lstStyle>
            <a:lvl1pPr>
              <a:defRPr/>
            </a:lvl1pPr>
          </a:lstStyle>
          <a:p>
            <a:pPr>
              <a:defRPr/>
            </a:pPr>
            <a:endParaRPr lang="en-US"/>
          </a:p>
        </p:txBody>
      </p:sp>
      <p:sp>
        <p:nvSpPr>
          <p:cNvPr id="3" name="Slide Number Placeholder 5"/>
          <p:cNvSpPr>
            <a:spLocks noGrp="1"/>
          </p:cNvSpPr>
          <p:nvPr>
            <p:ph type="sldNum" sz="quarter" idx="11"/>
          </p:nvPr>
        </p:nvSpPr>
        <p:spPr/>
        <p:txBody>
          <a:bodyPr/>
          <a:lstStyle>
            <a:lvl1pPr>
              <a:defRPr/>
            </a:lvl1pPr>
          </a:lstStyle>
          <a:p>
            <a:pPr>
              <a:defRPr/>
            </a:pPr>
            <a:fld id="{48191064-2E5B-41BE-9E6F-A9927B9AA32C}" type="slidenum">
              <a:rPr lang="en-US" smtClean="0"/>
              <a:pPr>
                <a:defRPr/>
              </a:pPr>
              <a:t>‹N°›</a:t>
            </a:fld>
            <a:endParaRPr lang="en-US" dirty="0"/>
          </a:p>
        </p:txBody>
      </p:sp>
    </p:spTree>
    <p:extLst>
      <p:ext uri="{BB962C8B-B14F-4D97-AF65-F5344CB8AC3E}">
        <p14:creationId xmlns:p14="http://schemas.microsoft.com/office/powerpoint/2010/main" val="39424157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a:xfrm>
            <a:off x="2430587" y="6604000"/>
            <a:ext cx="9083432" cy="254000"/>
          </a:xfrm>
          <a:prstGeom prst="rect">
            <a:avLst/>
          </a:prstGeom>
        </p:spPr>
        <p:txBody>
          <a:bodyPr/>
          <a:lstStyle>
            <a:lvl1pPr defTabSz="914400">
              <a:defRPr/>
            </a:lvl1pPr>
          </a:lstStyle>
          <a:p>
            <a:pPr>
              <a:defRPr/>
            </a:pPr>
            <a:endParaRPr lang="en-US" dirty="0">
              <a:solidFill>
                <a:prstClr val="black"/>
              </a:solidFill>
            </a:endParaRPr>
          </a:p>
        </p:txBody>
      </p:sp>
      <p:sp>
        <p:nvSpPr>
          <p:cNvPr id="3" name="Slide Number Placeholder 5"/>
          <p:cNvSpPr>
            <a:spLocks noGrp="1"/>
          </p:cNvSpPr>
          <p:nvPr>
            <p:ph type="sldNum" sz="quarter" idx="11"/>
          </p:nvPr>
        </p:nvSpPr>
        <p:spPr/>
        <p:txBody>
          <a:bodyPr/>
          <a:lstStyle>
            <a:lvl1pPr defTabSz="914400">
              <a:defRPr/>
            </a:lvl1pPr>
          </a:lstStyle>
          <a:p>
            <a:pPr>
              <a:defRPr/>
            </a:pPr>
            <a:fld id="{9B8F7D12-62DE-453E-A7D6-231232E39030}" type="slidenum">
              <a:rPr lang="en-US"/>
              <a:pPr>
                <a:defRPr/>
              </a:pPr>
              <a:t>‹N°›</a:t>
            </a:fld>
            <a:endParaRPr lang="en-US" dirty="0"/>
          </a:p>
        </p:txBody>
      </p:sp>
    </p:spTree>
    <p:extLst>
      <p:ext uri="{BB962C8B-B14F-4D97-AF65-F5344CB8AC3E}">
        <p14:creationId xmlns:p14="http://schemas.microsoft.com/office/powerpoint/2010/main" val="27312511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6995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3" y="-26988"/>
            <a:ext cx="12188238" cy="1270001"/>
          </a:xfrm>
        </p:spPr>
        <p:txBody>
          <a:bodyPr/>
          <a:lstStyle/>
          <a:p>
            <a:r>
              <a:rPr lang="en-US"/>
              <a:t>Click to edit Master title style</a:t>
            </a:r>
          </a:p>
        </p:txBody>
      </p:sp>
      <p:sp>
        <p:nvSpPr>
          <p:cNvPr id="3" name="Text Placeholder 2"/>
          <p:cNvSpPr>
            <a:spLocks noGrp="1"/>
          </p:cNvSpPr>
          <p:nvPr>
            <p:ph type="body" sz="half" idx="1"/>
          </p:nvPr>
        </p:nvSpPr>
        <p:spPr>
          <a:xfrm>
            <a:off x="549310" y="1557341"/>
            <a:ext cx="5506247" cy="4795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6236149" y="1557341"/>
            <a:ext cx="5508127" cy="4795837"/>
          </a:xfrm>
        </p:spPr>
        <p:txBody>
          <a:bodyPr/>
          <a:lstStyle/>
          <a:p>
            <a:pPr lvl="0"/>
            <a:endParaRPr lang="en-US" noProof="0"/>
          </a:p>
        </p:txBody>
      </p:sp>
    </p:spTree>
    <p:extLst>
      <p:ext uri="{BB962C8B-B14F-4D97-AF65-F5344CB8AC3E}">
        <p14:creationId xmlns:p14="http://schemas.microsoft.com/office/powerpoint/2010/main" val="25444462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a:extLst>
              <a:ext uri="{FF2B5EF4-FFF2-40B4-BE49-F238E27FC236}">
                <a16:creationId xmlns:a16="http://schemas.microsoft.com/office/drawing/2014/main" id="{906622E4-727D-4EA3-9875-789F26BCF41D}"/>
              </a:ext>
            </a:extLst>
          </p:cNvPr>
          <p:cNvSpPr>
            <a:spLocks noGrp="1" noChangeArrowheads="1"/>
          </p:cNvSpPr>
          <p:nvPr>
            <p:ph type="dt" sz="half" idx="10"/>
          </p:nvPr>
        </p:nvSpPr>
        <p:spPr>
          <a:ln/>
        </p:spPr>
        <p:txBody>
          <a:bodyPr/>
          <a:lstStyle>
            <a:lvl1pPr>
              <a:defRPr/>
            </a:lvl1pPr>
          </a:lstStyle>
          <a:p>
            <a:pPr>
              <a:defRPr/>
            </a:pPr>
            <a:endParaRPr lang="de-DE"/>
          </a:p>
        </p:txBody>
      </p:sp>
      <p:sp>
        <p:nvSpPr>
          <p:cNvPr id="5" name="Rectangle 5">
            <a:extLst>
              <a:ext uri="{FF2B5EF4-FFF2-40B4-BE49-F238E27FC236}">
                <a16:creationId xmlns:a16="http://schemas.microsoft.com/office/drawing/2014/main" id="{E3F14F47-664A-4D80-961E-C0ED45CF64C8}"/>
              </a:ext>
            </a:extLst>
          </p:cNvPr>
          <p:cNvSpPr>
            <a:spLocks noGrp="1" noChangeArrowheads="1"/>
          </p:cNvSpPr>
          <p:nvPr>
            <p:ph type="ftr" sz="quarter" idx="11"/>
          </p:nvPr>
        </p:nvSpPr>
        <p:spPr>
          <a:ln/>
        </p:spPr>
        <p:txBody>
          <a:bodyPr/>
          <a:lstStyle>
            <a:lvl1pPr>
              <a:defRPr/>
            </a:lvl1pPr>
          </a:lstStyle>
          <a:p>
            <a:pPr>
              <a:defRPr/>
            </a:pPr>
            <a:endParaRPr lang="de-DE"/>
          </a:p>
        </p:txBody>
      </p:sp>
      <p:sp>
        <p:nvSpPr>
          <p:cNvPr id="6" name="Rectangle 6">
            <a:extLst>
              <a:ext uri="{FF2B5EF4-FFF2-40B4-BE49-F238E27FC236}">
                <a16:creationId xmlns:a16="http://schemas.microsoft.com/office/drawing/2014/main" id="{6A3D583F-4D6F-43E5-BF78-EDEC163F026F}"/>
              </a:ext>
            </a:extLst>
          </p:cNvPr>
          <p:cNvSpPr>
            <a:spLocks noGrp="1" noChangeArrowheads="1"/>
          </p:cNvSpPr>
          <p:nvPr>
            <p:ph type="sldNum" sz="quarter" idx="12"/>
          </p:nvPr>
        </p:nvSpPr>
        <p:spPr>
          <a:ln/>
        </p:spPr>
        <p:txBody>
          <a:bodyPr/>
          <a:lstStyle>
            <a:lvl1pPr>
              <a:defRPr/>
            </a:lvl1pPr>
          </a:lstStyle>
          <a:p>
            <a:pPr>
              <a:defRPr/>
            </a:pPr>
            <a:fld id="{03B7FF99-DAAC-43E1-95F0-B522E41907CB}" type="slidenum">
              <a:rPr lang="en-GB" altLang="en-US"/>
              <a:pPr>
                <a:defRPr/>
              </a:pPr>
              <a:t>‹N°›</a:t>
            </a:fld>
            <a:endParaRPr lang="en-GB" altLang="en-US"/>
          </a:p>
        </p:txBody>
      </p:sp>
    </p:spTree>
    <p:extLst>
      <p:ext uri="{BB962C8B-B14F-4D97-AF65-F5344CB8AC3E}">
        <p14:creationId xmlns:p14="http://schemas.microsoft.com/office/powerpoint/2010/main" val="9769417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FB534E8-6B0C-8A41-9869-A3F5CDF2CC98}" type="datetimeFigureOut">
              <a:rPr lang="en-US" smtClean="0"/>
              <a:t>10/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25981378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B534E8-6B0C-8A41-9869-A3F5CDF2CC98}" type="datetimeFigureOut">
              <a:rPr lang="en-US" smtClean="0"/>
              <a:t>10/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24309491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FB534E8-6B0C-8A41-9869-A3F5CDF2CC98}" type="datetimeFigureOut">
              <a:rPr lang="en-US" smtClean="0"/>
              <a:t>10/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10163474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FB534E8-6B0C-8A41-9869-A3F5CDF2CC98}" type="datetimeFigureOut">
              <a:rPr lang="en-US" smtClean="0"/>
              <a:t>10/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21695910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B534E8-6B0C-8A41-9869-A3F5CDF2CC98}" type="datetimeFigureOut">
              <a:rPr lang="en-US" smtClean="0"/>
              <a:t>10/19/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18983885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B534E8-6B0C-8A41-9869-A3F5CDF2CC98}" type="datetimeFigureOut">
              <a:rPr lang="en-US" smtClean="0"/>
              <a:t>10/1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14952427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B534E8-6B0C-8A41-9869-A3F5CDF2CC98}" type="datetimeFigureOut">
              <a:rPr lang="en-US" smtClean="0"/>
              <a:t>10/19/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26942683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F7FC3C43-D7BF-47C7-B7D6-9BA463F61230}"/>
              </a:ext>
            </a:extLst>
          </p:cNvPr>
          <p:cNvSpPr>
            <a:spLocks noGrp="1" noChangeArrowheads="1"/>
          </p:cNvSpPr>
          <p:nvPr>
            <p:ph type="dt" sz="half" idx="10"/>
          </p:nvPr>
        </p:nvSpPr>
        <p:spPr>
          <a:ln/>
        </p:spPr>
        <p:txBody>
          <a:bodyPr/>
          <a:lstStyle>
            <a:lvl1pPr>
              <a:defRPr/>
            </a:lvl1pPr>
          </a:lstStyle>
          <a:p>
            <a:pPr>
              <a:defRPr/>
            </a:pPr>
            <a:endParaRPr lang="de-DE"/>
          </a:p>
        </p:txBody>
      </p:sp>
      <p:sp>
        <p:nvSpPr>
          <p:cNvPr id="3" name="Rectangle 5">
            <a:extLst>
              <a:ext uri="{FF2B5EF4-FFF2-40B4-BE49-F238E27FC236}">
                <a16:creationId xmlns:a16="http://schemas.microsoft.com/office/drawing/2014/main" id="{10E7AED6-BAFA-4026-A315-E5C29A5ACB4E}"/>
              </a:ext>
            </a:extLst>
          </p:cNvPr>
          <p:cNvSpPr>
            <a:spLocks noGrp="1" noChangeArrowheads="1"/>
          </p:cNvSpPr>
          <p:nvPr>
            <p:ph type="ftr" sz="quarter" idx="11"/>
          </p:nvPr>
        </p:nvSpPr>
        <p:spPr>
          <a:ln/>
        </p:spPr>
        <p:txBody>
          <a:bodyPr/>
          <a:lstStyle>
            <a:lvl1pPr>
              <a:defRPr/>
            </a:lvl1pPr>
          </a:lstStyle>
          <a:p>
            <a:pPr>
              <a:defRPr/>
            </a:pPr>
            <a:endParaRPr lang="de-DE"/>
          </a:p>
        </p:txBody>
      </p:sp>
      <p:sp>
        <p:nvSpPr>
          <p:cNvPr id="4" name="Rectangle 6">
            <a:extLst>
              <a:ext uri="{FF2B5EF4-FFF2-40B4-BE49-F238E27FC236}">
                <a16:creationId xmlns:a16="http://schemas.microsoft.com/office/drawing/2014/main" id="{E42BD90F-B581-470D-B09D-5B9486BF79BF}"/>
              </a:ext>
            </a:extLst>
          </p:cNvPr>
          <p:cNvSpPr>
            <a:spLocks noGrp="1" noChangeArrowheads="1"/>
          </p:cNvSpPr>
          <p:nvPr>
            <p:ph type="sldNum" sz="quarter" idx="12"/>
          </p:nvPr>
        </p:nvSpPr>
        <p:spPr>
          <a:ln/>
        </p:spPr>
        <p:txBody>
          <a:bodyPr/>
          <a:lstStyle>
            <a:lvl1pPr>
              <a:defRPr/>
            </a:lvl1pPr>
          </a:lstStyle>
          <a:p>
            <a:pPr>
              <a:defRPr/>
            </a:pPr>
            <a:fld id="{258D16C1-B024-496D-B2D7-9BFD4F0D85B2}" type="slidenum">
              <a:rPr lang="en-GB" altLang="en-US"/>
              <a:pPr>
                <a:defRPr/>
              </a:pPr>
              <a:t>‹N°›</a:t>
            </a:fld>
            <a:endParaRPr lang="en-GB" altLang="en-US"/>
          </a:p>
        </p:txBody>
      </p:sp>
    </p:spTree>
    <p:extLst>
      <p:ext uri="{BB962C8B-B14F-4D97-AF65-F5344CB8AC3E}">
        <p14:creationId xmlns:p14="http://schemas.microsoft.com/office/powerpoint/2010/main" val="19094557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FB534E8-6B0C-8A41-9869-A3F5CDF2CC98}" type="datetimeFigureOut">
              <a:rPr lang="en-US" smtClean="0"/>
              <a:t>10/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35304958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FB534E8-6B0C-8A41-9869-A3F5CDF2CC98}" type="datetimeFigureOut">
              <a:rPr lang="en-US" smtClean="0"/>
              <a:t>10/1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38039313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B534E8-6B0C-8A41-9869-A3F5CDF2CC98}" type="datetimeFigureOut">
              <a:rPr lang="en-US" smtClean="0"/>
              <a:t>10/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28895942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B534E8-6B0C-8A41-9869-A3F5CDF2CC98}" type="datetimeFigureOut">
              <a:rPr lang="en-US" smtClean="0"/>
              <a:t>10/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3844686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61D0F0E6-22D0-49A2-8945-52AEAD9041CD}"/>
              </a:ext>
            </a:extLst>
          </p:cNvPr>
          <p:cNvSpPr>
            <a:spLocks noGrp="1"/>
          </p:cNvSpPr>
          <p:nvPr>
            <p:ph type="pic" sz="quarter" idx="13"/>
          </p:nvPr>
        </p:nvSpPr>
        <p:spPr>
          <a:xfrm>
            <a:off x="0" y="0"/>
            <a:ext cx="12192000" cy="6858000"/>
          </a:xfrm>
          <a:custGeom>
            <a:avLst/>
            <a:gdLst>
              <a:gd name="connsiteX0" fmla="*/ 6602777 w 12192000"/>
              <a:gd name="connsiteY0" fmla="*/ 6116155 h 6858000"/>
              <a:gd name="connsiteX1" fmla="*/ 6612980 w 12192000"/>
              <a:gd name="connsiteY1" fmla="*/ 6116155 h 6858000"/>
              <a:gd name="connsiteX2" fmla="*/ 6617061 w 12192000"/>
              <a:gd name="connsiteY2" fmla="*/ 6124493 h 6858000"/>
              <a:gd name="connsiteX3" fmla="*/ 6623183 w 12192000"/>
              <a:gd name="connsiteY3" fmla="*/ 6226637 h 6858000"/>
              <a:gd name="connsiteX4" fmla="*/ 6621142 w 12192000"/>
              <a:gd name="connsiteY4" fmla="*/ 6237059 h 6858000"/>
              <a:gd name="connsiteX5" fmla="*/ 6615021 w 12192000"/>
              <a:gd name="connsiteY5" fmla="*/ 6237059 h 6858000"/>
              <a:gd name="connsiteX6" fmla="*/ 6508908 w 12192000"/>
              <a:gd name="connsiteY6" fmla="*/ 6174523 h 6858000"/>
              <a:gd name="connsiteX7" fmla="*/ 6504827 w 12192000"/>
              <a:gd name="connsiteY7" fmla="*/ 6168270 h 6858000"/>
              <a:gd name="connsiteX8" fmla="*/ 6504827 w 12192000"/>
              <a:gd name="connsiteY8" fmla="*/ 6166184 h 6858000"/>
              <a:gd name="connsiteX9" fmla="*/ 6510948 w 12192000"/>
              <a:gd name="connsiteY9" fmla="*/ 6162015 h 6858000"/>
              <a:gd name="connsiteX10" fmla="*/ 6602777 w 12192000"/>
              <a:gd name="connsiteY10" fmla="*/ 6116155 h 6858000"/>
              <a:gd name="connsiteX11" fmla="*/ 6685511 w 12192000"/>
              <a:gd name="connsiteY11" fmla="*/ 6114071 h 6858000"/>
              <a:gd name="connsiteX12" fmla="*/ 6695813 w 12192000"/>
              <a:gd name="connsiteY12" fmla="*/ 6114071 h 6858000"/>
              <a:gd name="connsiteX13" fmla="*/ 6786472 w 12192000"/>
              <a:gd name="connsiteY13" fmla="*/ 6159837 h 6858000"/>
              <a:gd name="connsiteX14" fmla="*/ 6794714 w 12192000"/>
              <a:gd name="connsiteY14" fmla="*/ 6166078 h 6858000"/>
              <a:gd name="connsiteX15" fmla="*/ 6790593 w 12192000"/>
              <a:gd name="connsiteY15" fmla="*/ 6172318 h 6858000"/>
              <a:gd name="connsiteX16" fmla="*/ 6683451 w 12192000"/>
              <a:gd name="connsiteY16" fmla="*/ 6234726 h 6858000"/>
              <a:gd name="connsiteX17" fmla="*/ 6675208 w 12192000"/>
              <a:gd name="connsiteY17" fmla="*/ 6234726 h 6858000"/>
              <a:gd name="connsiteX18" fmla="*/ 6673148 w 12192000"/>
              <a:gd name="connsiteY18" fmla="*/ 6226405 h 6858000"/>
              <a:gd name="connsiteX19" fmla="*/ 6681390 w 12192000"/>
              <a:gd name="connsiteY19" fmla="*/ 6122392 h 6858000"/>
              <a:gd name="connsiteX20" fmla="*/ 6685511 w 12192000"/>
              <a:gd name="connsiteY20" fmla="*/ 6114071 h 6858000"/>
              <a:gd name="connsiteX21" fmla="*/ 5867776 w 12192000"/>
              <a:gd name="connsiteY21" fmla="*/ 6074328 h 6858000"/>
              <a:gd name="connsiteX22" fmla="*/ 5867776 w 12192000"/>
              <a:gd name="connsiteY22" fmla="*/ 6117531 h 6858000"/>
              <a:gd name="connsiteX23" fmla="*/ 5819888 w 12192000"/>
              <a:gd name="connsiteY23" fmla="*/ 6125760 h 6858000"/>
              <a:gd name="connsiteX24" fmla="*/ 5801149 w 12192000"/>
              <a:gd name="connsiteY24" fmla="*/ 6101073 h 6858000"/>
              <a:gd name="connsiteX25" fmla="*/ 5826134 w 12192000"/>
              <a:gd name="connsiteY25" fmla="*/ 6076386 h 6858000"/>
              <a:gd name="connsiteX26" fmla="*/ 5518276 w 12192000"/>
              <a:gd name="connsiteY26" fmla="*/ 6004194 h 6858000"/>
              <a:gd name="connsiteX27" fmla="*/ 5559186 w 12192000"/>
              <a:gd name="connsiteY27" fmla="*/ 6064393 h 6858000"/>
              <a:gd name="connsiteX28" fmla="*/ 5518276 w 12192000"/>
              <a:gd name="connsiteY28" fmla="*/ 6124591 h 6858000"/>
              <a:gd name="connsiteX29" fmla="*/ 5477363 w 12192000"/>
              <a:gd name="connsiteY29" fmla="*/ 6064393 h 6858000"/>
              <a:gd name="connsiteX30" fmla="*/ 5518276 w 12192000"/>
              <a:gd name="connsiteY30" fmla="*/ 6004194 h 6858000"/>
              <a:gd name="connsiteX31" fmla="*/ 6672498 w 12192000"/>
              <a:gd name="connsiteY31" fmla="*/ 5995882 h 6858000"/>
              <a:gd name="connsiteX32" fmla="*/ 6681491 w 12192000"/>
              <a:gd name="connsiteY32" fmla="*/ 5996921 h 6858000"/>
              <a:gd name="connsiteX33" fmla="*/ 6708215 w 12192000"/>
              <a:gd name="connsiteY33" fmla="*/ 6048872 h 6858000"/>
              <a:gd name="connsiteX34" fmla="*/ 6648601 w 12192000"/>
              <a:gd name="connsiteY34" fmla="*/ 6107057 h 6858000"/>
              <a:gd name="connsiteX35" fmla="*/ 6588987 w 12192000"/>
              <a:gd name="connsiteY35" fmla="*/ 6048872 h 6858000"/>
              <a:gd name="connsiteX36" fmla="*/ 6615711 w 12192000"/>
              <a:gd name="connsiteY36" fmla="*/ 5999000 h 6858000"/>
              <a:gd name="connsiteX37" fmla="*/ 6632156 w 12192000"/>
              <a:gd name="connsiteY37" fmla="*/ 6001077 h 6858000"/>
              <a:gd name="connsiteX38" fmla="*/ 6630100 w 12192000"/>
              <a:gd name="connsiteY38" fmla="*/ 6017702 h 6858000"/>
              <a:gd name="connsiteX39" fmla="*/ 6613655 w 12192000"/>
              <a:gd name="connsiteY39" fmla="*/ 6048872 h 6858000"/>
              <a:gd name="connsiteX40" fmla="*/ 6648601 w 12192000"/>
              <a:gd name="connsiteY40" fmla="*/ 6084199 h 6858000"/>
              <a:gd name="connsiteX41" fmla="*/ 6683547 w 12192000"/>
              <a:gd name="connsiteY41" fmla="*/ 6048872 h 6858000"/>
              <a:gd name="connsiteX42" fmla="*/ 6667102 w 12192000"/>
              <a:gd name="connsiteY42" fmla="*/ 6017702 h 6858000"/>
              <a:gd name="connsiteX43" fmla="*/ 6665047 w 12192000"/>
              <a:gd name="connsiteY43" fmla="*/ 6001077 h 6858000"/>
              <a:gd name="connsiteX44" fmla="*/ 6672498 w 12192000"/>
              <a:gd name="connsiteY44" fmla="*/ 5995882 h 6858000"/>
              <a:gd name="connsiteX45" fmla="*/ 6821432 w 12192000"/>
              <a:gd name="connsiteY45" fmla="*/ 5980816 h 6858000"/>
              <a:gd name="connsiteX46" fmla="*/ 6825565 w 12192000"/>
              <a:gd name="connsiteY46" fmla="*/ 5987045 h 6858000"/>
              <a:gd name="connsiteX47" fmla="*/ 6825565 w 12192000"/>
              <a:gd name="connsiteY47" fmla="*/ 6111612 h 6858000"/>
              <a:gd name="connsiteX48" fmla="*/ 6821432 w 12192000"/>
              <a:gd name="connsiteY48" fmla="*/ 6117840 h 6858000"/>
              <a:gd name="connsiteX49" fmla="*/ 6813166 w 12192000"/>
              <a:gd name="connsiteY49" fmla="*/ 6115764 h 6858000"/>
              <a:gd name="connsiteX50" fmla="*/ 6728441 w 12192000"/>
              <a:gd name="connsiteY50" fmla="*/ 6057632 h 6858000"/>
              <a:gd name="connsiteX51" fmla="*/ 6722242 w 12192000"/>
              <a:gd name="connsiteY51" fmla="*/ 6049328 h 6858000"/>
              <a:gd name="connsiteX52" fmla="*/ 6728441 w 12192000"/>
              <a:gd name="connsiteY52" fmla="*/ 6041024 h 6858000"/>
              <a:gd name="connsiteX53" fmla="*/ 6813166 w 12192000"/>
              <a:gd name="connsiteY53" fmla="*/ 5982893 h 6858000"/>
              <a:gd name="connsiteX54" fmla="*/ 6821432 w 12192000"/>
              <a:gd name="connsiteY54" fmla="*/ 5980816 h 6858000"/>
              <a:gd name="connsiteX55" fmla="*/ 6475604 w 12192000"/>
              <a:gd name="connsiteY55" fmla="*/ 5980816 h 6858000"/>
              <a:gd name="connsiteX56" fmla="*/ 6483787 w 12192000"/>
              <a:gd name="connsiteY56" fmla="*/ 5984968 h 6858000"/>
              <a:gd name="connsiteX57" fmla="*/ 6567656 w 12192000"/>
              <a:gd name="connsiteY57" fmla="*/ 6041024 h 6858000"/>
              <a:gd name="connsiteX58" fmla="*/ 6573792 w 12192000"/>
              <a:gd name="connsiteY58" fmla="*/ 6049328 h 6858000"/>
              <a:gd name="connsiteX59" fmla="*/ 6567656 w 12192000"/>
              <a:gd name="connsiteY59" fmla="*/ 6057632 h 6858000"/>
              <a:gd name="connsiteX60" fmla="*/ 6483787 w 12192000"/>
              <a:gd name="connsiteY60" fmla="*/ 6115764 h 6858000"/>
              <a:gd name="connsiteX61" fmla="*/ 6475604 w 12192000"/>
              <a:gd name="connsiteY61" fmla="*/ 6117840 h 6858000"/>
              <a:gd name="connsiteX62" fmla="*/ 6471513 w 12192000"/>
              <a:gd name="connsiteY62" fmla="*/ 6111612 h 6858000"/>
              <a:gd name="connsiteX63" fmla="*/ 6471513 w 12192000"/>
              <a:gd name="connsiteY63" fmla="*/ 5987045 h 6858000"/>
              <a:gd name="connsiteX64" fmla="*/ 6475604 w 12192000"/>
              <a:gd name="connsiteY64" fmla="*/ 5980816 h 6858000"/>
              <a:gd name="connsiteX65" fmla="*/ 6087559 w 12192000"/>
              <a:gd name="connsiteY65" fmla="*/ 5970296 h 6858000"/>
              <a:gd name="connsiteX66" fmla="*/ 6081400 w 12192000"/>
              <a:gd name="connsiteY66" fmla="*/ 5972374 h 6858000"/>
              <a:gd name="connsiteX67" fmla="*/ 6079347 w 12192000"/>
              <a:gd name="connsiteY67" fmla="*/ 5978604 h 6858000"/>
              <a:gd name="connsiteX68" fmla="*/ 6120408 w 12192000"/>
              <a:gd name="connsiteY68" fmla="*/ 6136455 h 6858000"/>
              <a:gd name="connsiteX69" fmla="*/ 6145045 w 12192000"/>
              <a:gd name="connsiteY69" fmla="*/ 6157224 h 6858000"/>
              <a:gd name="connsiteX70" fmla="*/ 6153257 w 12192000"/>
              <a:gd name="connsiteY70" fmla="*/ 6157224 h 6858000"/>
              <a:gd name="connsiteX71" fmla="*/ 6149151 w 12192000"/>
              <a:gd name="connsiteY71" fmla="*/ 6165532 h 6858000"/>
              <a:gd name="connsiteX72" fmla="*/ 6149151 w 12192000"/>
              <a:gd name="connsiteY72" fmla="*/ 6167609 h 6858000"/>
              <a:gd name="connsiteX73" fmla="*/ 6124515 w 12192000"/>
              <a:gd name="connsiteY73" fmla="*/ 6186302 h 6858000"/>
              <a:gd name="connsiteX74" fmla="*/ 6089612 w 12192000"/>
              <a:gd name="connsiteY74" fmla="*/ 6184225 h 6858000"/>
              <a:gd name="connsiteX75" fmla="*/ 6083453 w 12192000"/>
              <a:gd name="connsiteY75" fmla="*/ 6186302 h 6858000"/>
              <a:gd name="connsiteX76" fmla="*/ 6081400 w 12192000"/>
              <a:gd name="connsiteY76" fmla="*/ 6190456 h 6858000"/>
              <a:gd name="connsiteX77" fmla="*/ 6081400 w 12192000"/>
              <a:gd name="connsiteY77" fmla="*/ 6209149 h 6858000"/>
              <a:gd name="connsiteX78" fmla="*/ 6087559 w 12192000"/>
              <a:gd name="connsiteY78" fmla="*/ 6215380 h 6858000"/>
              <a:gd name="connsiteX79" fmla="*/ 6134780 w 12192000"/>
              <a:gd name="connsiteY79" fmla="*/ 6221610 h 6858000"/>
              <a:gd name="connsiteX80" fmla="*/ 6136833 w 12192000"/>
              <a:gd name="connsiteY80" fmla="*/ 6221610 h 6858000"/>
              <a:gd name="connsiteX81" fmla="*/ 6190213 w 12192000"/>
              <a:gd name="connsiteY81" fmla="*/ 6169686 h 6858000"/>
              <a:gd name="connsiteX82" fmla="*/ 6223062 w 12192000"/>
              <a:gd name="connsiteY82" fmla="*/ 6040914 h 6858000"/>
              <a:gd name="connsiteX83" fmla="*/ 6235380 w 12192000"/>
              <a:gd name="connsiteY83" fmla="*/ 5999374 h 6858000"/>
              <a:gd name="connsiteX84" fmla="*/ 6239487 w 12192000"/>
              <a:gd name="connsiteY84" fmla="*/ 5978604 h 6858000"/>
              <a:gd name="connsiteX85" fmla="*/ 6237434 w 12192000"/>
              <a:gd name="connsiteY85" fmla="*/ 5972374 h 6858000"/>
              <a:gd name="connsiteX86" fmla="*/ 6233327 w 12192000"/>
              <a:gd name="connsiteY86" fmla="*/ 5970296 h 6858000"/>
              <a:gd name="connsiteX87" fmla="*/ 6204584 w 12192000"/>
              <a:gd name="connsiteY87" fmla="*/ 5970296 h 6858000"/>
              <a:gd name="connsiteX88" fmla="*/ 6198425 w 12192000"/>
              <a:gd name="connsiteY88" fmla="*/ 5974451 h 6858000"/>
              <a:gd name="connsiteX89" fmla="*/ 6161469 w 12192000"/>
              <a:gd name="connsiteY89" fmla="*/ 6115685 h 6858000"/>
              <a:gd name="connsiteX90" fmla="*/ 6159417 w 12192000"/>
              <a:gd name="connsiteY90" fmla="*/ 6115685 h 6858000"/>
              <a:gd name="connsiteX91" fmla="*/ 6120408 w 12192000"/>
              <a:gd name="connsiteY91" fmla="*/ 5974451 h 6858000"/>
              <a:gd name="connsiteX92" fmla="*/ 6114249 w 12192000"/>
              <a:gd name="connsiteY92" fmla="*/ 5970296 h 6858000"/>
              <a:gd name="connsiteX93" fmla="*/ 6087559 w 12192000"/>
              <a:gd name="connsiteY93" fmla="*/ 5970296 h 6858000"/>
              <a:gd name="connsiteX94" fmla="*/ 6047787 w 12192000"/>
              <a:gd name="connsiteY94" fmla="*/ 5967959 h 6858000"/>
              <a:gd name="connsiteX95" fmla="*/ 5998692 w 12192000"/>
              <a:gd name="connsiteY95" fmla="*/ 5988768 h 6858000"/>
              <a:gd name="connsiteX96" fmla="*/ 5998692 w 12192000"/>
              <a:gd name="connsiteY96" fmla="*/ 5976283 h 6858000"/>
              <a:gd name="connsiteX97" fmla="*/ 5992556 w 12192000"/>
              <a:gd name="connsiteY97" fmla="*/ 5970040 h 6858000"/>
              <a:gd name="connsiteX98" fmla="*/ 5963918 w 12192000"/>
              <a:gd name="connsiteY98" fmla="*/ 5970040 h 6858000"/>
              <a:gd name="connsiteX99" fmla="*/ 5957781 w 12192000"/>
              <a:gd name="connsiteY99" fmla="*/ 5976283 h 6858000"/>
              <a:gd name="connsiteX100" fmla="*/ 5957781 w 12192000"/>
              <a:gd name="connsiteY100" fmla="*/ 6151078 h 6858000"/>
              <a:gd name="connsiteX101" fmla="*/ 5963918 w 12192000"/>
              <a:gd name="connsiteY101" fmla="*/ 6157321 h 6858000"/>
              <a:gd name="connsiteX102" fmla="*/ 5992556 w 12192000"/>
              <a:gd name="connsiteY102" fmla="*/ 6157321 h 6858000"/>
              <a:gd name="connsiteX103" fmla="*/ 5998692 w 12192000"/>
              <a:gd name="connsiteY103" fmla="*/ 6151078 h 6858000"/>
              <a:gd name="connsiteX104" fmla="*/ 5998692 w 12192000"/>
              <a:gd name="connsiteY104" fmla="*/ 6030386 h 6858000"/>
              <a:gd name="connsiteX105" fmla="*/ 6049832 w 12192000"/>
              <a:gd name="connsiteY105" fmla="*/ 6007496 h 6858000"/>
              <a:gd name="connsiteX106" fmla="*/ 6055969 w 12192000"/>
              <a:gd name="connsiteY106" fmla="*/ 6001253 h 6858000"/>
              <a:gd name="connsiteX107" fmla="*/ 6055969 w 12192000"/>
              <a:gd name="connsiteY107" fmla="*/ 5974202 h 6858000"/>
              <a:gd name="connsiteX108" fmla="*/ 6053923 w 12192000"/>
              <a:gd name="connsiteY108" fmla="*/ 5970040 h 6858000"/>
              <a:gd name="connsiteX109" fmla="*/ 6047787 w 12192000"/>
              <a:gd name="connsiteY109" fmla="*/ 5967959 h 6858000"/>
              <a:gd name="connsiteX110" fmla="*/ 5846879 w 12192000"/>
              <a:gd name="connsiteY110" fmla="*/ 5964452 h 6858000"/>
              <a:gd name="connsiteX111" fmla="*/ 5776523 w 12192000"/>
              <a:gd name="connsiteY111" fmla="*/ 5972770 h 6858000"/>
              <a:gd name="connsiteX112" fmla="*/ 5770315 w 12192000"/>
              <a:gd name="connsiteY112" fmla="*/ 5979008 h 6858000"/>
              <a:gd name="connsiteX113" fmla="*/ 5772384 w 12192000"/>
              <a:gd name="connsiteY113" fmla="*/ 6003961 h 6858000"/>
              <a:gd name="connsiteX114" fmla="*/ 5774454 w 12192000"/>
              <a:gd name="connsiteY114" fmla="*/ 6008120 h 6858000"/>
              <a:gd name="connsiteX115" fmla="*/ 5778592 w 12192000"/>
              <a:gd name="connsiteY115" fmla="*/ 6010199 h 6858000"/>
              <a:gd name="connsiteX116" fmla="*/ 5844809 w 12192000"/>
              <a:gd name="connsiteY116" fmla="*/ 6006040 h 6858000"/>
              <a:gd name="connsiteX117" fmla="*/ 5867571 w 12192000"/>
              <a:gd name="connsiteY117" fmla="*/ 6028914 h 6858000"/>
              <a:gd name="connsiteX118" fmla="*/ 5867571 w 12192000"/>
              <a:gd name="connsiteY118" fmla="*/ 6041390 h 6858000"/>
              <a:gd name="connsiteX119" fmla="*/ 5822047 w 12192000"/>
              <a:gd name="connsiteY119" fmla="*/ 6045549 h 6858000"/>
              <a:gd name="connsiteX120" fmla="*/ 5757900 w 12192000"/>
              <a:gd name="connsiteY120" fmla="*/ 6101693 h 6858000"/>
              <a:gd name="connsiteX121" fmla="*/ 5813770 w 12192000"/>
              <a:gd name="connsiteY121" fmla="*/ 6161996 h 6858000"/>
              <a:gd name="connsiteX122" fmla="*/ 5873779 w 12192000"/>
              <a:gd name="connsiteY122" fmla="*/ 6149520 h 6858000"/>
              <a:gd name="connsiteX123" fmla="*/ 5902750 w 12192000"/>
              <a:gd name="connsiteY123" fmla="*/ 6161996 h 6858000"/>
              <a:gd name="connsiteX124" fmla="*/ 5908957 w 12192000"/>
              <a:gd name="connsiteY124" fmla="*/ 6159917 h 6858000"/>
              <a:gd name="connsiteX125" fmla="*/ 5911026 w 12192000"/>
              <a:gd name="connsiteY125" fmla="*/ 6153679 h 6858000"/>
              <a:gd name="connsiteX126" fmla="*/ 5911026 w 12192000"/>
              <a:gd name="connsiteY126" fmla="*/ 6028914 h 6858000"/>
              <a:gd name="connsiteX127" fmla="*/ 5846879 w 12192000"/>
              <a:gd name="connsiteY127" fmla="*/ 5964452 h 6858000"/>
              <a:gd name="connsiteX128" fmla="*/ 5518274 w 12192000"/>
              <a:gd name="connsiteY128" fmla="*/ 5964452 h 6858000"/>
              <a:gd name="connsiteX129" fmla="*/ 5434114 w 12192000"/>
              <a:gd name="connsiteY129" fmla="*/ 6063224 h 6858000"/>
              <a:gd name="connsiteX130" fmla="*/ 5518274 w 12192000"/>
              <a:gd name="connsiteY130" fmla="*/ 6161996 h 6858000"/>
              <a:gd name="connsiteX131" fmla="*/ 5602435 w 12192000"/>
              <a:gd name="connsiteY131" fmla="*/ 6063224 h 6858000"/>
              <a:gd name="connsiteX132" fmla="*/ 5518274 w 12192000"/>
              <a:gd name="connsiteY132" fmla="*/ 5964452 h 6858000"/>
              <a:gd name="connsiteX133" fmla="*/ 5302320 w 12192000"/>
              <a:gd name="connsiteY133" fmla="*/ 5938736 h 6858000"/>
              <a:gd name="connsiteX134" fmla="*/ 5318685 w 12192000"/>
              <a:gd name="connsiteY134" fmla="*/ 5938736 h 6858000"/>
              <a:gd name="connsiteX135" fmla="*/ 5361642 w 12192000"/>
              <a:gd name="connsiteY135" fmla="*/ 5978478 h 6858000"/>
              <a:gd name="connsiteX136" fmla="*/ 5316640 w 12192000"/>
              <a:gd name="connsiteY136" fmla="*/ 6016129 h 6858000"/>
              <a:gd name="connsiteX137" fmla="*/ 5271637 w 12192000"/>
              <a:gd name="connsiteY137" fmla="*/ 6016129 h 6858000"/>
              <a:gd name="connsiteX138" fmla="*/ 5271637 w 12192000"/>
              <a:gd name="connsiteY138" fmla="*/ 5940828 h 6858000"/>
              <a:gd name="connsiteX139" fmla="*/ 5302320 w 12192000"/>
              <a:gd name="connsiteY139" fmla="*/ 5938736 h 6858000"/>
              <a:gd name="connsiteX140" fmla="*/ 5678557 w 12192000"/>
              <a:gd name="connsiteY140" fmla="*/ 5927047 h 6858000"/>
              <a:gd name="connsiteX141" fmla="*/ 5649847 w 12192000"/>
              <a:gd name="connsiteY141" fmla="*/ 5933291 h 6858000"/>
              <a:gd name="connsiteX142" fmla="*/ 5643695 w 12192000"/>
              <a:gd name="connsiteY142" fmla="*/ 5939535 h 6858000"/>
              <a:gd name="connsiteX143" fmla="*/ 5643695 w 12192000"/>
              <a:gd name="connsiteY143" fmla="*/ 5970757 h 6858000"/>
              <a:gd name="connsiteX144" fmla="*/ 5627290 w 12192000"/>
              <a:gd name="connsiteY144" fmla="*/ 5970757 h 6858000"/>
              <a:gd name="connsiteX145" fmla="*/ 5621138 w 12192000"/>
              <a:gd name="connsiteY145" fmla="*/ 5977002 h 6858000"/>
              <a:gd name="connsiteX146" fmla="*/ 5621138 w 12192000"/>
              <a:gd name="connsiteY146" fmla="*/ 6001980 h 6858000"/>
              <a:gd name="connsiteX147" fmla="*/ 5627290 w 12192000"/>
              <a:gd name="connsiteY147" fmla="*/ 6008224 h 6858000"/>
              <a:gd name="connsiteX148" fmla="*/ 5643695 w 12192000"/>
              <a:gd name="connsiteY148" fmla="*/ 6008224 h 6858000"/>
              <a:gd name="connsiteX149" fmla="*/ 5643695 w 12192000"/>
              <a:gd name="connsiteY149" fmla="*/ 6091483 h 6858000"/>
              <a:gd name="connsiteX150" fmla="*/ 5699064 w 12192000"/>
              <a:gd name="connsiteY150" fmla="*/ 6164334 h 6858000"/>
              <a:gd name="connsiteX151" fmla="*/ 5731875 w 12192000"/>
              <a:gd name="connsiteY151" fmla="*/ 6160171 h 6858000"/>
              <a:gd name="connsiteX152" fmla="*/ 5738028 w 12192000"/>
              <a:gd name="connsiteY152" fmla="*/ 6151845 h 6858000"/>
              <a:gd name="connsiteX153" fmla="*/ 5735977 w 12192000"/>
              <a:gd name="connsiteY153" fmla="*/ 6128949 h 6858000"/>
              <a:gd name="connsiteX154" fmla="*/ 5729824 w 12192000"/>
              <a:gd name="connsiteY154" fmla="*/ 6120623 h 6858000"/>
              <a:gd name="connsiteX155" fmla="*/ 5705217 w 12192000"/>
              <a:gd name="connsiteY155" fmla="*/ 6122705 h 6858000"/>
              <a:gd name="connsiteX156" fmla="*/ 5686761 w 12192000"/>
              <a:gd name="connsiteY156" fmla="*/ 6085238 h 6858000"/>
              <a:gd name="connsiteX157" fmla="*/ 5686761 w 12192000"/>
              <a:gd name="connsiteY157" fmla="*/ 6008224 h 6858000"/>
              <a:gd name="connsiteX158" fmla="*/ 5729824 w 12192000"/>
              <a:gd name="connsiteY158" fmla="*/ 6008224 h 6858000"/>
              <a:gd name="connsiteX159" fmla="*/ 5735977 w 12192000"/>
              <a:gd name="connsiteY159" fmla="*/ 6001980 h 6858000"/>
              <a:gd name="connsiteX160" fmla="*/ 5735977 w 12192000"/>
              <a:gd name="connsiteY160" fmla="*/ 5977002 h 6858000"/>
              <a:gd name="connsiteX161" fmla="*/ 5729824 w 12192000"/>
              <a:gd name="connsiteY161" fmla="*/ 5970757 h 6858000"/>
              <a:gd name="connsiteX162" fmla="*/ 5686761 w 12192000"/>
              <a:gd name="connsiteY162" fmla="*/ 5970757 h 6858000"/>
              <a:gd name="connsiteX163" fmla="*/ 5686761 w 12192000"/>
              <a:gd name="connsiteY163" fmla="*/ 5933291 h 6858000"/>
              <a:gd name="connsiteX164" fmla="*/ 5684709 w 12192000"/>
              <a:gd name="connsiteY164" fmla="*/ 5927047 h 6858000"/>
              <a:gd name="connsiteX165" fmla="*/ 5678557 w 12192000"/>
              <a:gd name="connsiteY165" fmla="*/ 5927047 h 6858000"/>
              <a:gd name="connsiteX166" fmla="*/ 5312653 w 12192000"/>
              <a:gd name="connsiteY166" fmla="*/ 5897825 h 6858000"/>
              <a:gd name="connsiteX167" fmla="*/ 5232236 w 12192000"/>
              <a:gd name="connsiteY167" fmla="*/ 5901977 h 6858000"/>
              <a:gd name="connsiteX168" fmla="*/ 5226049 w 12192000"/>
              <a:gd name="connsiteY168" fmla="*/ 5910281 h 6858000"/>
              <a:gd name="connsiteX169" fmla="*/ 5226049 w 12192000"/>
              <a:gd name="connsiteY169" fmla="*/ 6151093 h 6858000"/>
              <a:gd name="connsiteX170" fmla="*/ 5234297 w 12192000"/>
              <a:gd name="connsiteY170" fmla="*/ 6157321 h 6858000"/>
              <a:gd name="connsiteX171" fmla="*/ 5263165 w 12192000"/>
              <a:gd name="connsiteY171" fmla="*/ 6157321 h 6858000"/>
              <a:gd name="connsiteX172" fmla="*/ 5271414 w 12192000"/>
              <a:gd name="connsiteY172" fmla="*/ 6151093 h 6858000"/>
              <a:gd name="connsiteX173" fmla="*/ 5271414 w 12192000"/>
              <a:gd name="connsiteY173" fmla="*/ 6055599 h 6858000"/>
              <a:gd name="connsiteX174" fmla="*/ 5320901 w 12192000"/>
              <a:gd name="connsiteY174" fmla="*/ 6057674 h 6858000"/>
              <a:gd name="connsiteX175" fmla="*/ 5362142 w 12192000"/>
              <a:gd name="connsiteY175" fmla="*/ 6153168 h 6858000"/>
              <a:gd name="connsiteX176" fmla="*/ 5368327 w 12192000"/>
              <a:gd name="connsiteY176" fmla="*/ 6157321 h 6858000"/>
              <a:gd name="connsiteX177" fmla="*/ 5401320 w 12192000"/>
              <a:gd name="connsiteY177" fmla="*/ 6157321 h 6858000"/>
              <a:gd name="connsiteX178" fmla="*/ 5407505 w 12192000"/>
              <a:gd name="connsiteY178" fmla="*/ 6155245 h 6858000"/>
              <a:gd name="connsiteX179" fmla="*/ 5409567 w 12192000"/>
              <a:gd name="connsiteY179" fmla="*/ 6149017 h 6858000"/>
              <a:gd name="connsiteX180" fmla="*/ 5362142 w 12192000"/>
              <a:gd name="connsiteY180" fmla="*/ 6045219 h 6858000"/>
              <a:gd name="connsiteX181" fmla="*/ 5407505 w 12192000"/>
              <a:gd name="connsiteY181" fmla="*/ 5976711 h 6858000"/>
              <a:gd name="connsiteX182" fmla="*/ 5318839 w 12192000"/>
              <a:gd name="connsiteY182" fmla="*/ 5897825 h 6858000"/>
              <a:gd name="connsiteX183" fmla="*/ 5312653 w 12192000"/>
              <a:gd name="connsiteY183" fmla="*/ 5897825 h 6858000"/>
              <a:gd name="connsiteX184" fmla="*/ 6675208 w 12192000"/>
              <a:gd name="connsiteY184" fmla="*/ 5864819 h 6858000"/>
              <a:gd name="connsiteX185" fmla="*/ 6683451 w 12192000"/>
              <a:gd name="connsiteY185" fmla="*/ 5864819 h 6858000"/>
              <a:gd name="connsiteX186" fmla="*/ 6790593 w 12192000"/>
              <a:gd name="connsiteY186" fmla="*/ 5926632 h 6858000"/>
              <a:gd name="connsiteX187" fmla="*/ 6794714 w 12192000"/>
              <a:gd name="connsiteY187" fmla="*/ 5932813 h 6858000"/>
              <a:gd name="connsiteX188" fmla="*/ 6786472 w 12192000"/>
              <a:gd name="connsiteY188" fmla="*/ 5938994 h 6858000"/>
              <a:gd name="connsiteX189" fmla="*/ 6695813 w 12192000"/>
              <a:gd name="connsiteY189" fmla="*/ 5982263 h 6858000"/>
              <a:gd name="connsiteX190" fmla="*/ 6685511 w 12192000"/>
              <a:gd name="connsiteY190" fmla="*/ 5984323 h 6858000"/>
              <a:gd name="connsiteX191" fmla="*/ 6681390 w 12192000"/>
              <a:gd name="connsiteY191" fmla="*/ 5974021 h 6858000"/>
              <a:gd name="connsiteX192" fmla="*/ 6673148 w 12192000"/>
              <a:gd name="connsiteY192" fmla="*/ 5873060 h 6858000"/>
              <a:gd name="connsiteX193" fmla="*/ 6675208 w 12192000"/>
              <a:gd name="connsiteY193" fmla="*/ 5864819 h 6858000"/>
              <a:gd name="connsiteX194" fmla="*/ 6617873 w 12192000"/>
              <a:gd name="connsiteY194" fmla="*/ 5864048 h 6858000"/>
              <a:gd name="connsiteX195" fmla="*/ 6621994 w 12192000"/>
              <a:gd name="connsiteY195" fmla="*/ 5864823 h 6858000"/>
              <a:gd name="connsiteX196" fmla="*/ 6624054 w 12192000"/>
              <a:gd name="connsiteY196" fmla="*/ 5875148 h 6858000"/>
              <a:gd name="connsiteX197" fmla="*/ 6615813 w 12192000"/>
              <a:gd name="connsiteY197" fmla="*/ 5976336 h 6858000"/>
              <a:gd name="connsiteX198" fmla="*/ 6611692 w 12192000"/>
              <a:gd name="connsiteY198" fmla="*/ 5984596 h 6858000"/>
              <a:gd name="connsiteX199" fmla="*/ 6601390 w 12192000"/>
              <a:gd name="connsiteY199" fmla="*/ 5984596 h 6858000"/>
              <a:gd name="connsiteX200" fmla="*/ 6510730 w 12192000"/>
              <a:gd name="connsiteY200" fmla="*/ 5939165 h 6858000"/>
              <a:gd name="connsiteX201" fmla="*/ 6502489 w 12192000"/>
              <a:gd name="connsiteY201" fmla="*/ 5932970 h 6858000"/>
              <a:gd name="connsiteX202" fmla="*/ 6506610 w 12192000"/>
              <a:gd name="connsiteY202" fmla="*/ 5926774 h 6858000"/>
              <a:gd name="connsiteX203" fmla="*/ 6613752 w 12192000"/>
              <a:gd name="connsiteY203" fmla="*/ 5864823 h 6858000"/>
              <a:gd name="connsiteX204" fmla="*/ 6617873 w 12192000"/>
              <a:gd name="connsiteY204" fmla="*/ 5864048 h 6858000"/>
              <a:gd name="connsiteX205" fmla="*/ 6649186 w 12192000"/>
              <a:gd name="connsiteY205" fmla="*/ 5828859 h 6858000"/>
              <a:gd name="connsiteX206" fmla="*/ 6432355 w 12192000"/>
              <a:gd name="connsiteY206" fmla="*/ 6048029 h 6858000"/>
              <a:gd name="connsiteX207" fmla="*/ 6649186 w 12192000"/>
              <a:gd name="connsiteY207" fmla="*/ 6267198 h 6858000"/>
              <a:gd name="connsiteX208" fmla="*/ 6866018 w 12192000"/>
              <a:gd name="connsiteY208" fmla="*/ 6048029 h 6858000"/>
              <a:gd name="connsiteX209" fmla="*/ 6649186 w 12192000"/>
              <a:gd name="connsiteY209" fmla="*/ 5828859 h 6858000"/>
              <a:gd name="connsiteX210" fmla="*/ 6648602 w 12192000"/>
              <a:gd name="connsiteY210" fmla="*/ 5797300 h 6858000"/>
              <a:gd name="connsiteX211" fmla="*/ 6895240 w 12192000"/>
              <a:gd name="connsiteY211" fmla="*/ 6046861 h 6858000"/>
              <a:gd name="connsiteX212" fmla="*/ 6648602 w 12192000"/>
              <a:gd name="connsiteY212" fmla="*/ 6296422 h 6858000"/>
              <a:gd name="connsiteX213" fmla="*/ 6401963 w 12192000"/>
              <a:gd name="connsiteY213" fmla="*/ 6046861 h 6858000"/>
              <a:gd name="connsiteX214" fmla="*/ 6648602 w 12192000"/>
              <a:gd name="connsiteY214" fmla="*/ 5797300 h 6858000"/>
              <a:gd name="connsiteX215" fmla="*/ 6635678 w 12192000"/>
              <a:gd name="connsiteY215" fmla="*/ 5718724 h 6858000"/>
              <a:gd name="connsiteX216" fmla="*/ 6623339 w 12192000"/>
              <a:gd name="connsiteY216" fmla="*/ 5768607 h 6858000"/>
              <a:gd name="connsiteX217" fmla="*/ 6600717 w 12192000"/>
              <a:gd name="connsiteY217" fmla="*/ 5772764 h 6858000"/>
              <a:gd name="connsiteX218" fmla="*/ 6573982 w 12192000"/>
              <a:gd name="connsiteY218" fmla="*/ 5727038 h 6858000"/>
              <a:gd name="connsiteX219" fmla="*/ 6573982 w 12192000"/>
              <a:gd name="connsiteY219" fmla="*/ 5724959 h 6858000"/>
              <a:gd name="connsiteX220" fmla="*/ 6571926 w 12192000"/>
              <a:gd name="connsiteY220" fmla="*/ 5727038 h 6858000"/>
              <a:gd name="connsiteX221" fmla="*/ 6551360 w 12192000"/>
              <a:gd name="connsiteY221" fmla="*/ 5731195 h 6858000"/>
              <a:gd name="connsiteX222" fmla="*/ 6551360 w 12192000"/>
              <a:gd name="connsiteY222" fmla="*/ 5733273 h 6858000"/>
              <a:gd name="connsiteX223" fmla="*/ 6547247 w 12192000"/>
              <a:gd name="connsiteY223" fmla="*/ 5758215 h 6858000"/>
              <a:gd name="connsiteX224" fmla="*/ 6551360 w 12192000"/>
              <a:gd name="connsiteY224" fmla="*/ 5785235 h 6858000"/>
              <a:gd name="connsiteX225" fmla="*/ 6530795 w 12192000"/>
              <a:gd name="connsiteY225" fmla="*/ 5793548 h 6858000"/>
              <a:gd name="connsiteX226" fmla="*/ 6493777 w 12192000"/>
              <a:gd name="connsiteY226" fmla="*/ 5758215 h 6858000"/>
              <a:gd name="connsiteX227" fmla="*/ 6493777 w 12192000"/>
              <a:gd name="connsiteY227" fmla="*/ 5756136 h 6858000"/>
              <a:gd name="connsiteX228" fmla="*/ 6491721 w 12192000"/>
              <a:gd name="connsiteY228" fmla="*/ 5756136 h 6858000"/>
              <a:gd name="connsiteX229" fmla="*/ 6473212 w 12192000"/>
              <a:gd name="connsiteY229" fmla="*/ 5768607 h 6858000"/>
              <a:gd name="connsiteX230" fmla="*/ 6473212 w 12192000"/>
              <a:gd name="connsiteY230" fmla="*/ 5770685 h 6858000"/>
              <a:gd name="connsiteX231" fmla="*/ 6485551 w 12192000"/>
              <a:gd name="connsiteY231" fmla="*/ 5820568 h 6858000"/>
              <a:gd name="connsiteX232" fmla="*/ 6469099 w 12192000"/>
              <a:gd name="connsiteY232" fmla="*/ 5833039 h 6858000"/>
              <a:gd name="connsiteX233" fmla="*/ 6425911 w 12192000"/>
              <a:gd name="connsiteY233" fmla="*/ 5806019 h 6858000"/>
              <a:gd name="connsiteX234" fmla="*/ 6423855 w 12192000"/>
              <a:gd name="connsiteY234" fmla="*/ 5806019 h 6858000"/>
              <a:gd name="connsiteX235" fmla="*/ 6423855 w 12192000"/>
              <a:gd name="connsiteY235" fmla="*/ 5808097 h 6858000"/>
              <a:gd name="connsiteX236" fmla="*/ 6407402 w 12192000"/>
              <a:gd name="connsiteY236" fmla="*/ 5822647 h 6858000"/>
              <a:gd name="connsiteX237" fmla="*/ 6407402 w 12192000"/>
              <a:gd name="connsiteY237" fmla="*/ 5824725 h 6858000"/>
              <a:gd name="connsiteX238" fmla="*/ 6434138 w 12192000"/>
              <a:gd name="connsiteY238" fmla="*/ 5870451 h 6858000"/>
              <a:gd name="connsiteX239" fmla="*/ 6419742 w 12192000"/>
              <a:gd name="connsiteY239" fmla="*/ 5887079 h 6858000"/>
              <a:gd name="connsiteX240" fmla="*/ 6370385 w 12192000"/>
              <a:gd name="connsiteY240" fmla="*/ 5874608 h 6858000"/>
              <a:gd name="connsiteX241" fmla="*/ 6368328 w 12192000"/>
              <a:gd name="connsiteY241" fmla="*/ 5874608 h 6858000"/>
              <a:gd name="connsiteX242" fmla="*/ 6358046 w 12192000"/>
              <a:gd name="connsiteY242" fmla="*/ 5893314 h 6858000"/>
              <a:gd name="connsiteX243" fmla="*/ 6358046 w 12192000"/>
              <a:gd name="connsiteY243" fmla="*/ 5895393 h 6858000"/>
              <a:gd name="connsiteX244" fmla="*/ 6395063 w 12192000"/>
              <a:gd name="connsiteY244" fmla="*/ 5932805 h 6858000"/>
              <a:gd name="connsiteX245" fmla="*/ 6386837 w 12192000"/>
              <a:gd name="connsiteY245" fmla="*/ 5951511 h 6858000"/>
              <a:gd name="connsiteX246" fmla="*/ 6335424 w 12192000"/>
              <a:gd name="connsiteY246" fmla="*/ 5951511 h 6858000"/>
              <a:gd name="connsiteX247" fmla="*/ 6333367 w 12192000"/>
              <a:gd name="connsiteY247" fmla="*/ 5951511 h 6858000"/>
              <a:gd name="connsiteX248" fmla="*/ 6333367 w 12192000"/>
              <a:gd name="connsiteY248" fmla="*/ 5953589 h 6858000"/>
              <a:gd name="connsiteX249" fmla="*/ 6327198 w 12192000"/>
              <a:gd name="connsiteY249" fmla="*/ 5974373 h 6858000"/>
              <a:gd name="connsiteX250" fmla="*/ 6329254 w 12192000"/>
              <a:gd name="connsiteY250" fmla="*/ 5976452 h 6858000"/>
              <a:gd name="connsiteX251" fmla="*/ 6372441 w 12192000"/>
              <a:gd name="connsiteY251" fmla="*/ 6001393 h 6858000"/>
              <a:gd name="connsiteX252" fmla="*/ 6370385 w 12192000"/>
              <a:gd name="connsiteY252" fmla="*/ 6024257 h 6858000"/>
              <a:gd name="connsiteX253" fmla="*/ 6321028 w 12192000"/>
              <a:gd name="connsiteY253" fmla="*/ 6036728 h 6858000"/>
              <a:gd name="connsiteX254" fmla="*/ 6318972 w 12192000"/>
              <a:gd name="connsiteY254" fmla="*/ 6036728 h 6858000"/>
              <a:gd name="connsiteX255" fmla="*/ 6318972 w 12192000"/>
              <a:gd name="connsiteY255" fmla="*/ 6038805 h 6858000"/>
              <a:gd name="connsiteX256" fmla="*/ 6318972 w 12192000"/>
              <a:gd name="connsiteY256" fmla="*/ 6049198 h 6858000"/>
              <a:gd name="connsiteX257" fmla="*/ 6318972 w 12192000"/>
              <a:gd name="connsiteY257" fmla="*/ 6059590 h 6858000"/>
              <a:gd name="connsiteX258" fmla="*/ 6318972 w 12192000"/>
              <a:gd name="connsiteY258" fmla="*/ 6061669 h 6858000"/>
              <a:gd name="connsiteX259" fmla="*/ 6321028 w 12192000"/>
              <a:gd name="connsiteY259" fmla="*/ 6061669 h 6858000"/>
              <a:gd name="connsiteX260" fmla="*/ 6370385 w 12192000"/>
              <a:gd name="connsiteY260" fmla="*/ 6074140 h 6858000"/>
              <a:gd name="connsiteX261" fmla="*/ 6374498 w 12192000"/>
              <a:gd name="connsiteY261" fmla="*/ 6097002 h 6858000"/>
              <a:gd name="connsiteX262" fmla="*/ 6329254 w 12192000"/>
              <a:gd name="connsiteY262" fmla="*/ 6124022 h 6858000"/>
              <a:gd name="connsiteX263" fmla="*/ 6327198 w 12192000"/>
              <a:gd name="connsiteY263" fmla="*/ 6124022 h 6858000"/>
              <a:gd name="connsiteX264" fmla="*/ 6327198 w 12192000"/>
              <a:gd name="connsiteY264" fmla="*/ 6126101 h 6858000"/>
              <a:gd name="connsiteX265" fmla="*/ 6333367 w 12192000"/>
              <a:gd name="connsiteY265" fmla="*/ 6146886 h 6858000"/>
              <a:gd name="connsiteX266" fmla="*/ 6335424 w 12192000"/>
              <a:gd name="connsiteY266" fmla="*/ 6146886 h 6858000"/>
              <a:gd name="connsiteX267" fmla="*/ 6386837 w 12192000"/>
              <a:gd name="connsiteY267" fmla="*/ 6146886 h 6858000"/>
              <a:gd name="connsiteX268" fmla="*/ 6395063 w 12192000"/>
              <a:gd name="connsiteY268" fmla="*/ 6167669 h 6858000"/>
              <a:gd name="connsiteX269" fmla="*/ 6358046 w 12192000"/>
              <a:gd name="connsiteY269" fmla="*/ 6205082 h 6858000"/>
              <a:gd name="connsiteX270" fmla="*/ 6358046 w 12192000"/>
              <a:gd name="connsiteY270" fmla="*/ 6207160 h 6858000"/>
              <a:gd name="connsiteX271" fmla="*/ 6370385 w 12192000"/>
              <a:gd name="connsiteY271" fmla="*/ 6225866 h 6858000"/>
              <a:gd name="connsiteX272" fmla="*/ 6421798 w 12192000"/>
              <a:gd name="connsiteY272" fmla="*/ 6211318 h 6858000"/>
              <a:gd name="connsiteX273" fmla="*/ 6434138 w 12192000"/>
              <a:gd name="connsiteY273" fmla="*/ 6230024 h 6858000"/>
              <a:gd name="connsiteX274" fmla="*/ 6407402 w 12192000"/>
              <a:gd name="connsiteY274" fmla="*/ 6275750 h 6858000"/>
              <a:gd name="connsiteX275" fmla="*/ 6409459 w 12192000"/>
              <a:gd name="connsiteY275" fmla="*/ 6277827 h 6858000"/>
              <a:gd name="connsiteX276" fmla="*/ 6423855 w 12192000"/>
              <a:gd name="connsiteY276" fmla="*/ 6292377 h 6858000"/>
              <a:gd name="connsiteX277" fmla="*/ 6425911 w 12192000"/>
              <a:gd name="connsiteY277" fmla="*/ 6292377 h 6858000"/>
              <a:gd name="connsiteX278" fmla="*/ 6471156 w 12192000"/>
              <a:gd name="connsiteY278" fmla="*/ 6265357 h 6858000"/>
              <a:gd name="connsiteX279" fmla="*/ 6487608 w 12192000"/>
              <a:gd name="connsiteY279" fmla="*/ 6279906 h 6858000"/>
              <a:gd name="connsiteX280" fmla="*/ 6475269 w 12192000"/>
              <a:gd name="connsiteY280" fmla="*/ 6329789 h 6858000"/>
              <a:gd name="connsiteX281" fmla="*/ 6475269 w 12192000"/>
              <a:gd name="connsiteY281" fmla="*/ 6331868 h 6858000"/>
              <a:gd name="connsiteX282" fmla="*/ 6493777 w 12192000"/>
              <a:gd name="connsiteY282" fmla="*/ 6342259 h 6858000"/>
              <a:gd name="connsiteX283" fmla="*/ 6493777 w 12192000"/>
              <a:gd name="connsiteY283" fmla="*/ 6344338 h 6858000"/>
              <a:gd name="connsiteX284" fmla="*/ 6495834 w 12192000"/>
              <a:gd name="connsiteY284" fmla="*/ 6342259 h 6858000"/>
              <a:gd name="connsiteX285" fmla="*/ 6532851 w 12192000"/>
              <a:gd name="connsiteY285" fmla="*/ 6304848 h 6858000"/>
              <a:gd name="connsiteX286" fmla="*/ 6551360 w 12192000"/>
              <a:gd name="connsiteY286" fmla="*/ 6313162 h 6858000"/>
              <a:gd name="connsiteX287" fmla="*/ 6549304 w 12192000"/>
              <a:gd name="connsiteY287" fmla="*/ 6340182 h 6858000"/>
              <a:gd name="connsiteX288" fmla="*/ 6551360 w 12192000"/>
              <a:gd name="connsiteY288" fmla="*/ 6365123 h 6858000"/>
              <a:gd name="connsiteX289" fmla="*/ 6551360 w 12192000"/>
              <a:gd name="connsiteY289" fmla="*/ 6367201 h 6858000"/>
              <a:gd name="connsiteX290" fmla="*/ 6553417 w 12192000"/>
              <a:gd name="connsiteY290" fmla="*/ 6367201 h 6858000"/>
              <a:gd name="connsiteX291" fmla="*/ 6573982 w 12192000"/>
              <a:gd name="connsiteY291" fmla="*/ 6373436 h 6858000"/>
              <a:gd name="connsiteX292" fmla="*/ 6576039 w 12192000"/>
              <a:gd name="connsiteY292" fmla="*/ 6373436 h 6858000"/>
              <a:gd name="connsiteX293" fmla="*/ 6600717 w 12192000"/>
              <a:gd name="connsiteY293" fmla="*/ 6327711 h 6858000"/>
              <a:gd name="connsiteX294" fmla="*/ 6623339 w 12192000"/>
              <a:gd name="connsiteY294" fmla="*/ 6329789 h 6858000"/>
              <a:gd name="connsiteX295" fmla="*/ 6635678 w 12192000"/>
              <a:gd name="connsiteY295" fmla="*/ 6381750 h 6858000"/>
              <a:gd name="connsiteX296" fmla="*/ 6637734 w 12192000"/>
              <a:gd name="connsiteY296" fmla="*/ 6381750 h 6858000"/>
              <a:gd name="connsiteX297" fmla="*/ 6658300 w 12192000"/>
              <a:gd name="connsiteY297" fmla="*/ 6381750 h 6858000"/>
              <a:gd name="connsiteX298" fmla="*/ 6660357 w 12192000"/>
              <a:gd name="connsiteY298" fmla="*/ 6381750 h 6858000"/>
              <a:gd name="connsiteX299" fmla="*/ 6674753 w 12192000"/>
              <a:gd name="connsiteY299" fmla="*/ 6329789 h 6858000"/>
              <a:gd name="connsiteX300" fmla="*/ 6695318 w 12192000"/>
              <a:gd name="connsiteY300" fmla="*/ 6327711 h 6858000"/>
              <a:gd name="connsiteX301" fmla="*/ 6722053 w 12192000"/>
              <a:gd name="connsiteY301" fmla="*/ 6373436 h 6858000"/>
              <a:gd name="connsiteX302" fmla="*/ 6742618 w 12192000"/>
              <a:gd name="connsiteY302" fmla="*/ 6367201 h 6858000"/>
              <a:gd name="connsiteX303" fmla="*/ 6744675 w 12192000"/>
              <a:gd name="connsiteY303" fmla="*/ 6367201 h 6858000"/>
              <a:gd name="connsiteX304" fmla="*/ 6746731 w 12192000"/>
              <a:gd name="connsiteY304" fmla="*/ 6340182 h 6858000"/>
              <a:gd name="connsiteX305" fmla="*/ 6744675 w 12192000"/>
              <a:gd name="connsiteY305" fmla="*/ 6313162 h 6858000"/>
              <a:gd name="connsiteX306" fmla="*/ 6765240 w 12192000"/>
              <a:gd name="connsiteY306" fmla="*/ 6304848 h 6858000"/>
              <a:gd name="connsiteX307" fmla="*/ 6802257 w 12192000"/>
              <a:gd name="connsiteY307" fmla="*/ 6342259 h 6858000"/>
              <a:gd name="connsiteX308" fmla="*/ 6820766 w 12192000"/>
              <a:gd name="connsiteY308" fmla="*/ 6331868 h 6858000"/>
              <a:gd name="connsiteX309" fmla="*/ 6822823 w 12192000"/>
              <a:gd name="connsiteY309" fmla="*/ 6329789 h 6858000"/>
              <a:gd name="connsiteX310" fmla="*/ 6822823 w 12192000"/>
              <a:gd name="connsiteY310" fmla="*/ 6327711 h 6858000"/>
              <a:gd name="connsiteX311" fmla="*/ 6808427 w 12192000"/>
              <a:gd name="connsiteY311" fmla="*/ 6279906 h 6858000"/>
              <a:gd name="connsiteX312" fmla="*/ 6824879 w 12192000"/>
              <a:gd name="connsiteY312" fmla="*/ 6265357 h 6858000"/>
              <a:gd name="connsiteX313" fmla="*/ 6870123 w 12192000"/>
              <a:gd name="connsiteY313" fmla="*/ 6292377 h 6858000"/>
              <a:gd name="connsiteX314" fmla="*/ 6872180 w 12192000"/>
              <a:gd name="connsiteY314" fmla="*/ 6292377 h 6858000"/>
              <a:gd name="connsiteX315" fmla="*/ 6886576 w 12192000"/>
              <a:gd name="connsiteY315" fmla="*/ 6275750 h 6858000"/>
              <a:gd name="connsiteX316" fmla="*/ 6888632 w 12192000"/>
              <a:gd name="connsiteY316" fmla="*/ 6275750 h 6858000"/>
              <a:gd name="connsiteX317" fmla="*/ 6861897 w 12192000"/>
              <a:gd name="connsiteY317" fmla="*/ 6230024 h 6858000"/>
              <a:gd name="connsiteX318" fmla="*/ 6874236 w 12192000"/>
              <a:gd name="connsiteY318" fmla="*/ 6211318 h 6858000"/>
              <a:gd name="connsiteX319" fmla="*/ 6925650 w 12192000"/>
              <a:gd name="connsiteY319" fmla="*/ 6225866 h 6858000"/>
              <a:gd name="connsiteX320" fmla="*/ 6927706 w 12192000"/>
              <a:gd name="connsiteY320" fmla="*/ 6223788 h 6858000"/>
              <a:gd name="connsiteX321" fmla="*/ 6937989 w 12192000"/>
              <a:gd name="connsiteY321" fmla="*/ 6205082 h 6858000"/>
              <a:gd name="connsiteX322" fmla="*/ 6937989 w 12192000"/>
              <a:gd name="connsiteY322" fmla="*/ 6203004 h 6858000"/>
              <a:gd name="connsiteX323" fmla="*/ 6900972 w 12192000"/>
              <a:gd name="connsiteY323" fmla="*/ 6167669 h 6858000"/>
              <a:gd name="connsiteX324" fmla="*/ 6909198 w 12192000"/>
              <a:gd name="connsiteY324" fmla="*/ 6146886 h 6858000"/>
              <a:gd name="connsiteX325" fmla="*/ 6960611 w 12192000"/>
              <a:gd name="connsiteY325" fmla="*/ 6146886 h 6858000"/>
              <a:gd name="connsiteX326" fmla="*/ 6962667 w 12192000"/>
              <a:gd name="connsiteY326" fmla="*/ 6146886 h 6858000"/>
              <a:gd name="connsiteX327" fmla="*/ 6966781 w 12192000"/>
              <a:gd name="connsiteY327" fmla="*/ 6126101 h 6858000"/>
              <a:gd name="connsiteX328" fmla="*/ 6966781 w 12192000"/>
              <a:gd name="connsiteY328" fmla="*/ 6124022 h 6858000"/>
              <a:gd name="connsiteX329" fmla="*/ 6921537 w 12192000"/>
              <a:gd name="connsiteY329" fmla="*/ 6097002 h 6858000"/>
              <a:gd name="connsiteX330" fmla="*/ 6925650 w 12192000"/>
              <a:gd name="connsiteY330" fmla="*/ 6076218 h 6858000"/>
              <a:gd name="connsiteX331" fmla="*/ 6975007 w 12192000"/>
              <a:gd name="connsiteY331" fmla="*/ 6061669 h 6858000"/>
              <a:gd name="connsiteX332" fmla="*/ 6977063 w 12192000"/>
              <a:gd name="connsiteY332" fmla="*/ 6061669 h 6858000"/>
              <a:gd name="connsiteX333" fmla="*/ 6977063 w 12192000"/>
              <a:gd name="connsiteY333" fmla="*/ 6049198 h 6858000"/>
              <a:gd name="connsiteX334" fmla="*/ 6977063 w 12192000"/>
              <a:gd name="connsiteY334" fmla="*/ 6038805 h 6858000"/>
              <a:gd name="connsiteX335" fmla="*/ 6975007 w 12192000"/>
              <a:gd name="connsiteY335" fmla="*/ 6038805 h 6858000"/>
              <a:gd name="connsiteX336" fmla="*/ 6925650 w 12192000"/>
              <a:gd name="connsiteY336" fmla="*/ 6024257 h 6858000"/>
              <a:gd name="connsiteX337" fmla="*/ 6923593 w 12192000"/>
              <a:gd name="connsiteY337" fmla="*/ 6003472 h 6858000"/>
              <a:gd name="connsiteX338" fmla="*/ 6966781 w 12192000"/>
              <a:gd name="connsiteY338" fmla="*/ 5976452 h 6858000"/>
              <a:gd name="connsiteX339" fmla="*/ 6968837 w 12192000"/>
              <a:gd name="connsiteY339" fmla="*/ 5976452 h 6858000"/>
              <a:gd name="connsiteX340" fmla="*/ 6968837 w 12192000"/>
              <a:gd name="connsiteY340" fmla="*/ 5974373 h 6858000"/>
              <a:gd name="connsiteX341" fmla="*/ 6962667 w 12192000"/>
              <a:gd name="connsiteY341" fmla="*/ 5953589 h 6858000"/>
              <a:gd name="connsiteX342" fmla="*/ 6960611 w 12192000"/>
              <a:gd name="connsiteY342" fmla="*/ 5953589 h 6858000"/>
              <a:gd name="connsiteX343" fmla="*/ 6909198 w 12192000"/>
              <a:gd name="connsiteY343" fmla="*/ 5953589 h 6858000"/>
              <a:gd name="connsiteX344" fmla="*/ 6900972 w 12192000"/>
              <a:gd name="connsiteY344" fmla="*/ 5932805 h 6858000"/>
              <a:gd name="connsiteX345" fmla="*/ 6937989 w 12192000"/>
              <a:gd name="connsiteY345" fmla="*/ 5895393 h 6858000"/>
              <a:gd name="connsiteX346" fmla="*/ 6937989 w 12192000"/>
              <a:gd name="connsiteY346" fmla="*/ 5893314 h 6858000"/>
              <a:gd name="connsiteX347" fmla="*/ 6927706 w 12192000"/>
              <a:gd name="connsiteY347" fmla="*/ 5874608 h 6858000"/>
              <a:gd name="connsiteX348" fmla="*/ 6925650 w 12192000"/>
              <a:gd name="connsiteY348" fmla="*/ 5874608 h 6858000"/>
              <a:gd name="connsiteX349" fmla="*/ 6876293 w 12192000"/>
              <a:gd name="connsiteY349" fmla="*/ 5887079 h 6858000"/>
              <a:gd name="connsiteX350" fmla="*/ 6861897 w 12192000"/>
              <a:gd name="connsiteY350" fmla="*/ 5870451 h 6858000"/>
              <a:gd name="connsiteX351" fmla="*/ 6888632 w 12192000"/>
              <a:gd name="connsiteY351" fmla="*/ 5824725 h 6858000"/>
              <a:gd name="connsiteX352" fmla="*/ 6888632 w 12192000"/>
              <a:gd name="connsiteY352" fmla="*/ 5822647 h 6858000"/>
              <a:gd name="connsiteX353" fmla="*/ 6872180 w 12192000"/>
              <a:gd name="connsiteY353" fmla="*/ 5808097 h 6858000"/>
              <a:gd name="connsiteX354" fmla="*/ 6826936 w 12192000"/>
              <a:gd name="connsiteY354" fmla="*/ 5833039 h 6858000"/>
              <a:gd name="connsiteX355" fmla="*/ 6808427 w 12192000"/>
              <a:gd name="connsiteY355" fmla="*/ 5820568 h 6858000"/>
              <a:gd name="connsiteX356" fmla="*/ 6822823 w 12192000"/>
              <a:gd name="connsiteY356" fmla="*/ 5770685 h 6858000"/>
              <a:gd name="connsiteX357" fmla="*/ 6822823 w 12192000"/>
              <a:gd name="connsiteY357" fmla="*/ 5768607 h 6858000"/>
              <a:gd name="connsiteX358" fmla="*/ 6804314 w 12192000"/>
              <a:gd name="connsiteY358" fmla="*/ 5758215 h 6858000"/>
              <a:gd name="connsiteX359" fmla="*/ 6802257 w 12192000"/>
              <a:gd name="connsiteY359" fmla="*/ 5756136 h 6858000"/>
              <a:gd name="connsiteX360" fmla="*/ 6802257 w 12192000"/>
              <a:gd name="connsiteY360" fmla="*/ 5758215 h 6858000"/>
              <a:gd name="connsiteX361" fmla="*/ 6765240 w 12192000"/>
              <a:gd name="connsiteY361" fmla="*/ 5793548 h 6858000"/>
              <a:gd name="connsiteX362" fmla="*/ 6744675 w 12192000"/>
              <a:gd name="connsiteY362" fmla="*/ 5785235 h 6858000"/>
              <a:gd name="connsiteX363" fmla="*/ 6748788 w 12192000"/>
              <a:gd name="connsiteY363" fmla="*/ 5758215 h 6858000"/>
              <a:gd name="connsiteX364" fmla="*/ 6744675 w 12192000"/>
              <a:gd name="connsiteY364" fmla="*/ 5733273 h 6858000"/>
              <a:gd name="connsiteX365" fmla="*/ 6744675 w 12192000"/>
              <a:gd name="connsiteY365" fmla="*/ 5731195 h 6858000"/>
              <a:gd name="connsiteX366" fmla="*/ 6742618 w 12192000"/>
              <a:gd name="connsiteY366" fmla="*/ 5731195 h 6858000"/>
              <a:gd name="connsiteX367" fmla="*/ 6722053 w 12192000"/>
              <a:gd name="connsiteY367" fmla="*/ 5727038 h 6858000"/>
              <a:gd name="connsiteX368" fmla="*/ 6695318 w 12192000"/>
              <a:gd name="connsiteY368" fmla="*/ 5772764 h 6858000"/>
              <a:gd name="connsiteX369" fmla="*/ 6672696 w 12192000"/>
              <a:gd name="connsiteY369" fmla="*/ 5768607 h 6858000"/>
              <a:gd name="connsiteX370" fmla="*/ 6660357 w 12192000"/>
              <a:gd name="connsiteY370" fmla="*/ 5718724 h 6858000"/>
              <a:gd name="connsiteX371" fmla="*/ 6658300 w 12192000"/>
              <a:gd name="connsiteY371" fmla="*/ 5718724 h 6858000"/>
              <a:gd name="connsiteX372" fmla="*/ 6637734 w 12192000"/>
              <a:gd name="connsiteY372" fmla="*/ 5718724 h 6858000"/>
              <a:gd name="connsiteX373" fmla="*/ 6635678 w 12192000"/>
              <a:gd name="connsiteY373" fmla="*/ 5718724 h 6858000"/>
              <a:gd name="connsiteX374" fmla="*/ 0 w 12192000"/>
              <a:gd name="connsiteY374" fmla="*/ 0 h 6858000"/>
              <a:gd name="connsiteX375" fmla="*/ 12192000 w 12192000"/>
              <a:gd name="connsiteY375" fmla="*/ 0 h 6858000"/>
              <a:gd name="connsiteX376" fmla="*/ 12192000 w 12192000"/>
              <a:gd name="connsiteY376" fmla="*/ 6858000 h 6858000"/>
              <a:gd name="connsiteX377" fmla="*/ 4539049 w 12192000"/>
              <a:gd name="connsiteY377" fmla="*/ 6858000 h 6858000"/>
              <a:gd name="connsiteX378" fmla="*/ 0 w 12192000"/>
              <a:gd name="connsiteY378" fmla="*/ 6858000 h 6858000"/>
              <a:gd name="connsiteX379" fmla="*/ 0 w 12192000"/>
              <a:gd name="connsiteY379" fmla="*/ 62731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Lst>
            <a:rect l="l" t="t" r="r" b="b"/>
            <a:pathLst>
              <a:path w="12192000" h="6858000">
                <a:moveTo>
                  <a:pt x="6602777" y="6116155"/>
                </a:moveTo>
                <a:cubicBezTo>
                  <a:pt x="6606858" y="6114071"/>
                  <a:pt x="6608899" y="6114071"/>
                  <a:pt x="6612980" y="6116155"/>
                </a:cubicBezTo>
                <a:cubicBezTo>
                  <a:pt x="6615021" y="6118240"/>
                  <a:pt x="6617061" y="6120324"/>
                  <a:pt x="6617061" y="6124493"/>
                </a:cubicBezTo>
                <a:cubicBezTo>
                  <a:pt x="6623183" y="6226637"/>
                  <a:pt x="6623183" y="6226637"/>
                  <a:pt x="6623183" y="6226637"/>
                </a:cubicBezTo>
                <a:cubicBezTo>
                  <a:pt x="6625224" y="6232890"/>
                  <a:pt x="6623183" y="6234975"/>
                  <a:pt x="6621142" y="6237059"/>
                </a:cubicBezTo>
                <a:cubicBezTo>
                  <a:pt x="6619102" y="6239144"/>
                  <a:pt x="6617061" y="6237059"/>
                  <a:pt x="6615021" y="6237059"/>
                </a:cubicBezTo>
                <a:cubicBezTo>
                  <a:pt x="6570127" y="6226637"/>
                  <a:pt x="6539517" y="6207875"/>
                  <a:pt x="6508908" y="6174523"/>
                </a:cubicBezTo>
                <a:cubicBezTo>
                  <a:pt x="6506867" y="6172439"/>
                  <a:pt x="6504827" y="6170354"/>
                  <a:pt x="6504827" y="6168270"/>
                </a:cubicBezTo>
                <a:cubicBezTo>
                  <a:pt x="6504827" y="6168270"/>
                  <a:pt x="6504827" y="6168270"/>
                  <a:pt x="6504827" y="6166184"/>
                </a:cubicBezTo>
                <a:cubicBezTo>
                  <a:pt x="6504827" y="6164100"/>
                  <a:pt x="6508908" y="6162015"/>
                  <a:pt x="6510948" y="6162015"/>
                </a:cubicBezTo>
                <a:cubicBezTo>
                  <a:pt x="6602777" y="6116155"/>
                  <a:pt x="6602777" y="6116155"/>
                  <a:pt x="6602777" y="6116155"/>
                </a:cubicBezTo>
                <a:close/>
                <a:moveTo>
                  <a:pt x="6685511" y="6114071"/>
                </a:moveTo>
                <a:cubicBezTo>
                  <a:pt x="6689631" y="6114071"/>
                  <a:pt x="6691692" y="6114071"/>
                  <a:pt x="6695813" y="6114071"/>
                </a:cubicBezTo>
                <a:cubicBezTo>
                  <a:pt x="6786472" y="6159837"/>
                  <a:pt x="6786472" y="6159837"/>
                  <a:pt x="6786472" y="6159837"/>
                </a:cubicBezTo>
                <a:cubicBezTo>
                  <a:pt x="6790593" y="6161917"/>
                  <a:pt x="6792654" y="6163997"/>
                  <a:pt x="6794714" y="6166078"/>
                </a:cubicBezTo>
                <a:cubicBezTo>
                  <a:pt x="6794714" y="6168158"/>
                  <a:pt x="6792654" y="6170238"/>
                  <a:pt x="6790593" y="6172318"/>
                </a:cubicBezTo>
                <a:cubicBezTo>
                  <a:pt x="6759687" y="6205602"/>
                  <a:pt x="6726720" y="6224325"/>
                  <a:pt x="6683451" y="6234726"/>
                </a:cubicBezTo>
                <a:cubicBezTo>
                  <a:pt x="6679330" y="6236806"/>
                  <a:pt x="6677269" y="6236806"/>
                  <a:pt x="6675208" y="6234726"/>
                </a:cubicBezTo>
                <a:cubicBezTo>
                  <a:pt x="6673148" y="6232646"/>
                  <a:pt x="6673148" y="6228485"/>
                  <a:pt x="6673148" y="6226405"/>
                </a:cubicBezTo>
                <a:cubicBezTo>
                  <a:pt x="6681390" y="6122392"/>
                  <a:pt x="6681390" y="6122392"/>
                  <a:pt x="6681390" y="6122392"/>
                </a:cubicBezTo>
                <a:cubicBezTo>
                  <a:pt x="6681390" y="6120312"/>
                  <a:pt x="6683451" y="6116151"/>
                  <a:pt x="6685511" y="6114071"/>
                </a:cubicBezTo>
                <a:close/>
                <a:moveTo>
                  <a:pt x="5867776" y="6074328"/>
                </a:moveTo>
                <a:cubicBezTo>
                  <a:pt x="5867776" y="6074328"/>
                  <a:pt x="5867776" y="6074328"/>
                  <a:pt x="5867776" y="6117531"/>
                </a:cubicBezTo>
                <a:cubicBezTo>
                  <a:pt x="5867776" y="6117531"/>
                  <a:pt x="5840708" y="6125760"/>
                  <a:pt x="5819888" y="6125760"/>
                </a:cubicBezTo>
                <a:cubicBezTo>
                  <a:pt x="5803231" y="6125760"/>
                  <a:pt x="5801149" y="6109302"/>
                  <a:pt x="5801149" y="6101073"/>
                </a:cubicBezTo>
                <a:cubicBezTo>
                  <a:pt x="5801149" y="6086672"/>
                  <a:pt x="5809477" y="6078443"/>
                  <a:pt x="5826134" y="6076386"/>
                </a:cubicBezTo>
                <a:close/>
                <a:moveTo>
                  <a:pt x="5518276" y="6004194"/>
                </a:moveTo>
                <a:cubicBezTo>
                  <a:pt x="5546913" y="6004194"/>
                  <a:pt x="5559186" y="6020801"/>
                  <a:pt x="5559186" y="6064393"/>
                </a:cubicBezTo>
                <a:cubicBezTo>
                  <a:pt x="5559186" y="6101757"/>
                  <a:pt x="5553050" y="6124591"/>
                  <a:pt x="5518276" y="6124591"/>
                </a:cubicBezTo>
                <a:cubicBezTo>
                  <a:pt x="5483500" y="6124591"/>
                  <a:pt x="5477363" y="6101757"/>
                  <a:pt x="5477363" y="6064393"/>
                </a:cubicBezTo>
                <a:cubicBezTo>
                  <a:pt x="5477363" y="6020801"/>
                  <a:pt x="5487591" y="6004194"/>
                  <a:pt x="5518276" y="6004194"/>
                </a:cubicBezTo>
                <a:close/>
                <a:moveTo>
                  <a:pt x="6672498" y="5995882"/>
                </a:moveTo>
                <a:cubicBezTo>
                  <a:pt x="6675325" y="5995363"/>
                  <a:pt x="6678409" y="5995882"/>
                  <a:pt x="6681491" y="5996921"/>
                </a:cubicBezTo>
                <a:cubicBezTo>
                  <a:pt x="6697937" y="6009390"/>
                  <a:pt x="6708215" y="6028092"/>
                  <a:pt x="6708215" y="6048872"/>
                </a:cubicBezTo>
                <a:cubicBezTo>
                  <a:pt x="6708215" y="6080043"/>
                  <a:pt x="6681491" y="6107057"/>
                  <a:pt x="6648601" y="6107057"/>
                </a:cubicBezTo>
                <a:cubicBezTo>
                  <a:pt x="6615711" y="6107057"/>
                  <a:pt x="6588987" y="6080043"/>
                  <a:pt x="6588987" y="6048872"/>
                </a:cubicBezTo>
                <a:cubicBezTo>
                  <a:pt x="6588987" y="6028092"/>
                  <a:pt x="6599266" y="6009390"/>
                  <a:pt x="6615711" y="5999000"/>
                </a:cubicBezTo>
                <a:cubicBezTo>
                  <a:pt x="6621878" y="5994843"/>
                  <a:pt x="6628045" y="5994843"/>
                  <a:pt x="6632156" y="6001077"/>
                </a:cubicBezTo>
                <a:cubicBezTo>
                  <a:pt x="6636268" y="6007312"/>
                  <a:pt x="6634212" y="6013545"/>
                  <a:pt x="6630100" y="6017702"/>
                </a:cubicBezTo>
                <a:cubicBezTo>
                  <a:pt x="6619822" y="6023936"/>
                  <a:pt x="6613655" y="6036404"/>
                  <a:pt x="6613655" y="6048872"/>
                </a:cubicBezTo>
                <a:cubicBezTo>
                  <a:pt x="6613655" y="6067575"/>
                  <a:pt x="6630100" y="6084199"/>
                  <a:pt x="6648601" y="6084199"/>
                </a:cubicBezTo>
                <a:cubicBezTo>
                  <a:pt x="6667102" y="6084199"/>
                  <a:pt x="6683547" y="6067575"/>
                  <a:pt x="6683547" y="6048872"/>
                </a:cubicBezTo>
                <a:cubicBezTo>
                  <a:pt x="6683547" y="6036404"/>
                  <a:pt x="6677381" y="6023936"/>
                  <a:pt x="6667102" y="6017702"/>
                </a:cubicBezTo>
                <a:cubicBezTo>
                  <a:pt x="6662991" y="6013545"/>
                  <a:pt x="6660935" y="6007312"/>
                  <a:pt x="6665047" y="6001077"/>
                </a:cubicBezTo>
                <a:cubicBezTo>
                  <a:pt x="6667102" y="5997961"/>
                  <a:pt x="6669672" y="5996402"/>
                  <a:pt x="6672498" y="5995882"/>
                </a:cubicBezTo>
                <a:close/>
                <a:moveTo>
                  <a:pt x="6821432" y="5980816"/>
                </a:moveTo>
                <a:cubicBezTo>
                  <a:pt x="6823499" y="5980816"/>
                  <a:pt x="6825565" y="5984968"/>
                  <a:pt x="6825565" y="5987045"/>
                </a:cubicBezTo>
                <a:cubicBezTo>
                  <a:pt x="6837964" y="6030643"/>
                  <a:pt x="6837964" y="6068013"/>
                  <a:pt x="6825565" y="6111612"/>
                </a:cubicBezTo>
                <a:cubicBezTo>
                  <a:pt x="6823499" y="6115764"/>
                  <a:pt x="6823499" y="6117840"/>
                  <a:pt x="6821432" y="6117840"/>
                </a:cubicBezTo>
                <a:cubicBezTo>
                  <a:pt x="6817299" y="6119916"/>
                  <a:pt x="6815233" y="6117840"/>
                  <a:pt x="6813166" y="6115764"/>
                </a:cubicBezTo>
                <a:cubicBezTo>
                  <a:pt x="6728441" y="6057632"/>
                  <a:pt x="6728441" y="6057632"/>
                  <a:pt x="6728441" y="6057632"/>
                </a:cubicBezTo>
                <a:cubicBezTo>
                  <a:pt x="6724308" y="6055557"/>
                  <a:pt x="6722242" y="6053480"/>
                  <a:pt x="6722242" y="6049328"/>
                </a:cubicBezTo>
                <a:cubicBezTo>
                  <a:pt x="6722242" y="6047252"/>
                  <a:pt x="6724308" y="6043100"/>
                  <a:pt x="6728441" y="6041024"/>
                </a:cubicBezTo>
                <a:cubicBezTo>
                  <a:pt x="6813166" y="5982893"/>
                  <a:pt x="6813166" y="5982893"/>
                  <a:pt x="6813166" y="5982893"/>
                </a:cubicBezTo>
                <a:cubicBezTo>
                  <a:pt x="6815233" y="5980816"/>
                  <a:pt x="6819366" y="5980816"/>
                  <a:pt x="6821432" y="5980816"/>
                </a:cubicBezTo>
                <a:close/>
                <a:moveTo>
                  <a:pt x="6475604" y="5980816"/>
                </a:moveTo>
                <a:cubicBezTo>
                  <a:pt x="6479695" y="5980816"/>
                  <a:pt x="6481741" y="5982893"/>
                  <a:pt x="6483787" y="5984968"/>
                </a:cubicBezTo>
                <a:cubicBezTo>
                  <a:pt x="6567656" y="6041024"/>
                  <a:pt x="6567656" y="6041024"/>
                  <a:pt x="6567656" y="6041024"/>
                </a:cubicBezTo>
                <a:cubicBezTo>
                  <a:pt x="6571747" y="6043100"/>
                  <a:pt x="6573792" y="6047252"/>
                  <a:pt x="6573792" y="6049328"/>
                </a:cubicBezTo>
                <a:cubicBezTo>
                  <a:pt x="6573792" y="6053480"/>
                  <a:pt x="6571747" y="6055557"/>
                  <a:pt x="6567656" y="6057632"/>
                </a:cubicBezTo>
                <a:lnTo>
                  <a:pt x="6483787" y="6115764"/>
                </a:lnTo>
                <a:cubicBezTo>
                  <a:pt x="6479695" y="6117840"/>
                  <a:pt x="6477650" y="6119916"/>
                  <a:pt x="6475604" y="6117840"/>
                </a:cubicBezTo>
                <a:cubicBezTo>
                  <a:pt x="6473559" y="6117840"/>
                  <a:pt x="6471513" y="6115764"/>
                  <a:pt x="6471513" y="6111612"/>
                </a:cubicBezTo>
                <a:cubicBezTo>
                  <a:pt x="6459240" y="6068013"/>
                  <a:pt x="6459240" y="6032719"/>
                  <a:pt x="6471513" y="5987045"/>
                </a:cubicBezTo>
                <a:cubicBezTo>
                  <a:pt x="6471513" y="5984968"/>
                  <a:pt x="6473559" y="5982893"/>
                  <a:pt x="6475604" y="5980816"/>
                </a:cubicBezTo>
                <a:close/>
                <a:moveTo>
                  <a:pt x="6087559" y="5970296"/>
                </a:moveTo>
                <a:cubicBezTo>
                  <a:pt x="6085506" y="5970296"/>
                  <a:pt x="6083453" y="5970296"/>
                  <a:pt x="6081400" y="5972374"/>
                </a:cubicBezTo>
                <a:cubicBezTo>
                  <a:pt x="6079347" y="5974451"/>
                  <a:pt x="6079347" y="5976528"/>
                  <a:pt x="6079347" y="5978604"/>
                </a:cubicBezTo>
                <a:cubicBezTo>
                  <a:pt x="6120408" y="6136455"/>
                  <a:pt x="6120408" y="6136455"/>
                  <a:pt x="6120408" y="6136455"/>
                </a:cubicBezTo>
                <a:cubicBezTo>
                  <a:pt x="6122461" y="6144763"/>
                  <a:pt x="6130674" y="6157224"/>
                  <a:pt x="6145045" y="6157224"/>
                </a:cubicBezTo>
                <a:cubicBezTo>
                  <a:pt x="6153257" y="6157224"/>
                  <a:pt x="6153257" y="6157224"/>
                  <a:pt x="6153257" y="6157224"/>
                </a:cubicBezTo>
                <a:cubicBezTo>
                  <a:pt x="6151204" y="6161378"/>
                  <a:pt x="6151204" y="6163456"/>
                  <a:pt x="6149151" y="6165532"/>
                </a:cubicBezTo>
                <a:cubicBezTo>
                  <a:pt x="6149151" y="6167609"/>
                  <a:pt x="6149151" y="6167609"/>
                  <a:pt x="6149151" y="6167609"/>
                </a:cubicBezTo>
                <a:cubicBezTo>
                  <a:pt x="6147098" y="6173841"/>
                  <a:pt x="6145045" y="6186302"/>
                  <a:pt x="6124515" y="6186302"/>
                </a:cubicBezTo>
                <a:cubicBezTo>
                  <a:pt x="6089612" y="6184225"/>
                  <a:pt x="6089612" y="6184225"/>
                  <a:pt x="6089612" y="6184225"/>
                </a:cubicBezTo>
                <a:cubicBezTo>
                  <a:pt x="6087559" y="6182148"/>
                  <a:pt x="6085506" y="6184225"/>
                  <a:pt x="6083453" y="6186302"/>
                </a:cubicBezTo>
                <a:cubicBezTo>
                  <a:pt x="6081400" y="6186302"/>
                  <a:pt x="6081400" y="6188379"/>
                  <a:pt x="6081400" y="6190456"/>
                </a:cubicBezTo>
                <a:cubicBezTo>
                  <a:pt x="6081400" y="6209149"/>
                  <a:pt x="6081400" y="6209149"/>
                  <a:pt x="6081400" y="6209149"/>
                </a:cubicBezTo>
                <a:cubicBezTo>
                  <a:pt x="6081400" y="6213303"/>
                  <a:pt x="6083453" y="6215380"/>
                  <a:pt x="6087559" y="6215380"/>
                </a:cubicBezTo>
                <a:cubicBezTo>
                  <a:pt x="6097825" y="6219533"/>
                  <a:pt x="6118355" y="6221610"/>
                  <a:pt x="6134780" y="6221610"/>
                </a:cubicBezTo>
                <a:cubicBezTo>
                  <a:pt x="6134780" y="6221610"/>
                  <a:pt x="6134780" y="6221610"/>
                  <a:pt x="6136833" y="6221610"/>
                </a:cubicBezTo>
                <a:cubicBezTo>
                  <a:pt x="6163523" y="6221610"/>
                  <a:pt x="6182000" y="6204995"/>
                  <a:pt x="6190213" y="6169686"/>
                </a:cubicBezTo>
                <a:cubicBezTo>
                  <a:pt x="6200478" y="6130223"/>
                  <a:pt x="6214849" y="6078299"/>
                  <a:pt x="6223062" y="6040914"/>
                </a:cubicBezTo>
                <a:cubicBezTo>
                  <a:pt x="6227168" y="6024298"/>
                  <a:pt x="6231274" y="6009759"/>
                  <a:pt x="6235380" y="5999374"/>
                </a:cubicBezTo>
                <a:cubicBezTo>
                  <a:pt x="6239487" y="5978604"/>
                  <a:pt x="6239487" y="5978604"/>
                  <a:pt x="6239487" y="5978604"/>
                </a:cubicBezTo>
                <a:cubicBezTo>
                  <a:pt x="6239487" y="5976528"/>
                  <a:pt x="6239487" y="5974451"/>
                  <a:pt x="6237434" y="5972374"/>
                </a:cubicBezTo>
                <a:cubicBezTo>
                  <a:pt x="6237434" y="5970296"/>
                  <a:pt x="6235380" y="5970296"/>
                  <a:pt x="6233327" y="5970296"/>
                </a:cubicBezTo>
                <a:cubicBezTo>
                  <a:pt x="6204584" y="5970296"/>
                  <a:pt x="6204584" y="5970296"/>
                  <a:pt x="6204584" y="5970296"/>
                </a:cubicBezTo>
                <a:cubicBezTo>
                  <a:pt x="6202531" y="5970296"/>
                  <a:pt x="6198425" y="5972374"/>
                  <a:pt x="6198425" y="5974451"/>
                </a:cubicBezTo>
                <a:cubicBezTo>
                  <a:pt x="6161469" y="6115685"/>
                  <a:pt x="6161469" y="6115685"/>
                  <a:pt x="6161469" y="6115685"/>
                </a:cubicBezTo>
                <a:cubicBezTo>
                  <a:pt x="6159417" y="6115685"/>
                  <a:pt x="6159417" y="6115685"/>
                  <a:pt x="6159417" y="6115685"/>
                </a:cubicBezTo>
                <a:cubicBezTo>
                  <a:pt x="6120408" y="5974451"/>
                  <a:pt x="6120408" y="5974451"/>
                  <a:pt x="6120408" y="5974451"/>
                </a:cubicBezTo>
                <a:cubicBezTo>
                  <a:pt x="6120408" y="5972374"/>
                  <a:pt x="6118355" y="5970296"/>
                  <a:pt x="6114249" y="5970296"/>
                </a:cubicBezTo>
                <a:cubicBezTo>
                  <a:pt x="6087559" y="5970296"/>
                  <a:pt x="6087559" y="5970296"/>
                  <a:pt x="6087559" y="5970296"/>
                </a:cubicBezTo>
                <a:close/>
                <a:moveTo>
                  <a:pt x="6047787" y="5967959"/>
                </a:moveTo>
                <a:cubicBezTo>
                  <a:pt x="6029376" y="5967959"/>
                  <a:pt x="6010966" y="5980444"/>
                  <a:pt x="5998692" y="5988768"/>
                </a:cubicBezTo>
                <a:cubicBezTo>
                  <a:pt x="5998692" y="5976283"/>
                  <a:pt x="5998692" y="5976283"/>
                  <a:pt x="5998692" y="5976283"/>
                </a:cubicBezTo>
                <a:cubicBezTo>
                  <a:pt x="5998692" y="5972120"/>
                  <a:pt x="5996647" y="5970040"/>
                  <a:pt x="5992556" y="5970040"/>
                </a:cubicBezTo>
                <a:cubicBezTo>
                  <a:pt x="5963918" y="5970040"/>
                  <a:pt x="5963918" y="5970040"/>
                  <a:pt x="5963918" y="5970040"/>
                </a:cubicBezTo>
                <a:cubicBezTo>
                  <a:pt x="5959827" y="5970040"/>
                  <a:pt x="5957781" y="5972120"/>
                  <a:pt x="5957781" y="5976283"/>
                </a:cubicBezTo>
                <a:cubicBezTo>
                  <a:pt x="5957781" y="6151078"/>
                  <a:pt x="5957781" y="6151078"/>
                  <a:pt x="5957781" y="6151078"/>
                </a:cubicBezTo>
                <a:cubicBezTo>
                  <a:pt x="5957781" y="6155240"/>
                  <a:pt x="5959827" y="6157321"/>
                  <a:pt x="5963918" y="6157321"/>
                </a:cubicBezTo>
                <a:cubicBezTo>
                  <a:pt x="5992556" y="6157321"/>
                  <a:pt x="5992556" y="6157321"/>
                  <a:pt x="5992556" y="6157321"/>
                </a:cubicBezTo>
                <a:cubicBezTo>
                  <a:pt x="5996647" y="6157321"/>
                  <a:pt x="5998692" y="6155240"/>
                  <a:pt x="5998692" y="6151078"/>
                </a:cubicBezTo>
                <a:cubicBezTo>
                  <a:pt x="5998692" y="6030386"/>
                  <a:pt x="5998692" y="6030386"/>
                  <a:pt x="5998692" y="6030386"/>
                </a:cubicBezTo>
                <a:cubicBezTo>
                  <a:pt x="6006875" y="6024143"/>
                  <a:pt x="6025285" y="6009577"/>
                  <a:pt x="6049832" y="6007496"/>
                </a:cubicBezTo>
                <a:cubicBezTo>
                  <a:pt x="6053923" y="6007496"/>
                  <a:pt x="6055969" y="6003334"/>
                  <a:pt x="6055969" y="6001253"/>
                </a:cubicBezTo>
                <a:cubicBezTo>
                  <a:pt x="6055969" y="5974202"/>
                  <a:pt x="6055969" y="5974202"/>
                  <a:pt x="6055969" y="5974202"/>
                </a:cubicBezTo>
                <a:cubicBezTo>
                  <a:pt x="6055969" y="5972120"/>
                  <a:pt x="6055969" y="5970040"/>
                  <a:pt x="6053923" y="5970040"/>
                </a:cubicBezTo>
                <a:cubicBezTo>
                  <a:pt x="6051878" y="5967959"/>
                  <a:pt x="6049832" y="5967959"/>
                  <a:pt x="6047787" y="5967959"/>
                </a:cubicBezTo>
                <a:close/>
                <a:moveTo>
                  <a:pt x="5846879" y="5964452"/>
                </a:moveTo>
                <a:cubicBezTo>
                  <a:pt x="5826186" y="5964452"/>
                  <a:pt x="5791009" y="5970690"/>
                  <a:pt x="5776523" y="5972770"/>
                </a:cubicBezTo>
                <a:cubicBezTo>
                  <a:pt x="5772384" y="5972770"/>
                  <a:pt x="5770315" y="5976928"/>
                  <a:pt x="5770315" y="5979008"/>
                </a:cubicBezTo>
                <a:cubicBezTo>
                  <a:pt x="5770315" y="5979008"/>
                  <a:pt x="5770315" y="5979008"/>
                  <a:pt x="5772384" y="6003961"/>
                </a:cubicBezTo>
                <a:cubicBezTo>
                  <a:pt x="5772384" y="6006040"/>
                  <a:pt x="5772384" y="6008120"/>
                  <a:pt x="5774454" y="6008120"/>
                </a:cubicBezTo>
                <a:cubicBezTo>
                  <a:pt x="5776523" y="6010199"/>
                  <a:pt x="5776523" y="6010199"/>
                  <a:pt x="5778592" y="6010199"/>
                </a:cubicBezTo>
                <a:cubicBezTo>
                  <a:pt x="5795147" y="6010199"/>
                  <a:pt x="5824116" y="6006040"/>
                  <a:pt x="5844809" y="6006040"/>
                </a:cubicBezTo>
                <a:cubicBezTo>
                  <a:pt x="5859294" y="6006040"/>
                  <a:pt x="5867571" y="6014358"/>
                  <a:pt x="5867571" y="6028914"/>
                </a:cubicBezTo>
                <a:cubicBezTo>
                  <a:pt x="5867571" y="6028914"/>
                  <a:pt x="5867571" y="6028914"/>
                  <a:pt x="5867571" y="6041390"/>
                </a:cubicBezTo>
                <a:cubicBezTo>
                  <a:pt x="5867571" y="6041390"/>
                  <a:pt x="5867571" y="6041390"/>
                  <a:pt x="5822047" y="6045549"/>
                </a:cubicBezTo>
                <a:cubicBezTo>
                  <a:pt x="5776523" y="6047629"/>
                  <a:pt x="5757900" y="6064264"/>
                  <a:pt x="5757900" y="6101693"/>
                </a:cubicBezTo>
                <a:cubicBezTo>
                  <a:pt x="5757900" y="6141202"/>
                  <a:pt x="5778592" y="6161996"/>
                  <a:pt x="5813770" y="6161996"/>
                </a:cubicBezTo>
                <a:cubicBezTo>
                  <a:pt x="5842740" y="6161996"/>
                  <a:pt x="5873779" y="6149520"/>
                  <a:pt x="5873779" y="6149520"/>
                </a:cubicBezTo>
                <a:cubicBezTo>
                  <a:pt x="5882056" y="6155758"/>
                  <a:pt x="5888264" y="6159917"/>
                  <a:pt x="5902750" y="6161996"/>
                </a:cubicBezTo>
                <a:cubicBezTo>
                  <a:pt x="5904818" y="6161996"/>
                  <a:pt x="5906888" y="6161996"/>
                  <a:pt x="5908957" y="6159917"/>
                </a:cubicBezTo>
                <a:cubicBezTo>
                  <a:pt x="5908957" y="6157837"/>
                  <a:pt x="5911026" y="6155758"/>
                  <a:pt x="5911026" y="6153679"/>
                </a:cubicBezTo>
                <a:cubicBezTo>
                  <a:pt x="5911026" y="6153679"/>
                  <a:pt x="5911026" y="6153679"/>
                  <a:pt x="5911026" y="6028914"/>
                </a:cubicBezTo>
                <a:cubicBezTo>
                  <a:pt x="5911026" y="5985246"/>
                  <a:pt x="5890333" y="5964452"/>
                  <a:pt x="5846879" y="5964452"/>
                </a:cubicBezTo>
                <a:close/>
                <a:moveTo>
                  <a:pt x="5518274" y="5964452"/>
                </a:moveTo>
                <a:cubicBezTo>
                  <a:pt x="5471794" y="5964452"/>
                  <a:pt x="5434114" y="6008673"/>
                  <a:pt x="5434114" y="6063224"/>
                </a:cubicBezTo>
                <a:cubicBezTo>
                  <a:pt x="5434114" y="6117775"/>
                  <a:pt x="5471794" y="6161996"/>
                  <a:pt x="5518274" y="6161996"/>
                </a:cubicBezTo>
                <a:cubicBezTo>
                  <a:pt x="5564755" y="6161996"/>
                  <a:pt x="5602435" y="6117775"/>
                  <a:pt x="5602435" y="6063224"/>
                </a:cubicBezTo>
                <a:cubicBezTo>
                  <a:pt x="5602435" y="6008673"/>
                  <a:pt x="5564755" y="5964452"/>
                  <a:pt x="5518274" y="5964452"/>
                </a:cubicBezTo>
                <a:close/>
                <a:moveTo>
                  <a:pt x="5302320" y="5938736"/>
                </a:moveTo>
                <a:cubicBezTo>
                  <a:pt x="5302320" y="5938736"/>
                  <a:pt x="5302320" y="5938736"/>
                  <a:pt x="5318685" y="5938736"/>
                </a:cubicBezTo>
                <a:cubicBezTo>
                  <a:pt x="5349369" y="5938736"/>
                  <a:pt x="5361642" y="5959653"/>
                  <a:pt x="5361642" y="5978478"/>
                </a:cubicBezTo>
                <a:cubicBezTo>
                  <a:pt x="5361642" y="6001488"/>
                  <a:pt x="5343232" y="6016129"/>
                  <a:pt x="5316640" y="6016129"/>
                </a:cubicBezTo>
                <a:cubicBezTo>
                  <a:pt x="5294139" y="6018221"/>
                  <a:pt x="5279820" y="6016129"/>
                  <a:pt x="5271637" y="6016129"/>
                </a:cubicBezTo>
                <a:cubicBezTo>
                  <a:pt x="5271637" y="6016129"/>
                  <a:pt x="5271637" y="6016129"/>
                  <a:pt x="5271637" y="5940828"/>
                </a:cubicBezTo>
                <a:cubicBezTo>
                  <a:pt x="5275728" y="5938736"/>
                  <a:pt x="5285956" y="5938736"/>
                  <a:pt x="5302320" y="5938736"/>
                </a:cubicBezTo>
                <a:close/>
                <a:moveTo>
                  <a:pt x="5678557" y="5927047"/>
                </a:moveTo>
                <a:cubicBezTo>
                  <a:pt x="5678557" y="5927047"/>
                  <a:pt x="5678557" y="5927047"/>
                  <a:pt x="5649847" y="5933291"/>
                </a:cubicBezTo>
                <a:cubicBezTo>
                  <a:pt x="5645746" y="5935373"/>
                  <a:pt x="5643695" y="5937455"/>
                  <a:pt x="5643695" y="5939535"/>
                </a:cubicBezTo>
                <a:cubicBezTo>
                  <a:pt x="5643695" y="5939535"/>
                  <a:pt x="5643695" y="5939535"/>
                  <a:pt x="5643695" y="5970757"/>
                </a:cubicBezTo>
                <a:cubicBezTo>
                  <a:pt x="5643695" y="5970757"/>
                  <a:pt x="5643695" y="5970757"/>
                  <a:pt x="5627290" y="5970757"/>
                </a:cubicBezTo>
                <a:cubicBezTo>
                  <a:pt x="5623188" y="5970757"/>
                  <a:pt x="5621138" y="5972839"/>
                  <a:pt x="5621138" y="5977002"/>
                </a:cubicBezTo>
                <a:cubicBezTo>
                  <a:pt x="5621138" y="5977002"/>
                  <a:pt x="5621138" y="5977002"/>
                  <a:pt x="5621138" y="6001980"/>
                </a:cubicBezTo>
                <a:cubicBezTo>
                  <a:pt x="5621138" y="6006143"/>
                  <a:pt x="5623188" y="6008224"/>
                  <a:pt x="5627290" y="6008224"/>
                </a:cubicBezTo>
                <a:cubicBezTo>
                  <a:pt x="5627290" y="6008224"/>
                  <a:pt x="5627290" y="6008224"/>
                  <a:pt x="5643695" y="6008224"/>
                </a:cubicBezTo>
                <a:cubicBezTo>
                  <a:pt x="5643695" y="6008224"/>
                  <a:pt x="5643695" y="6008224"/>
                  <a:pt x="5643695" y="6091483"/>
                </a:cubicBezTo>
                <a:cubicBezTo>
                  <a:pt x="5643695" y="6147682"/>
                  <a:pt x="5658050" y="6164334"/>
                  <a:pt x="5699064" y="6164334"/>
                </a:cubicBezTo>
                <a:cubicBezTo>
                  <a:pt x="5709318" y="6164334"/>
                  <a:pt x="5721622" y="6160171"/>
                  <a:pt x="5731875" y="6160171"/>
                </a:cubicBezTo>
                <a:cubicBezTo>
                  <a:pt x="5735977" y="6158090"/>
                  <a:pt x="5738028" y="6156008"/>
                  <a:pt x="5738028" y="6151845"/>
                </a:cubicBezTo>
                <a:cubicBezTo>
                  <a:pt x="5738028" y="6151845"/>
                  <a:pt x="5738028" y="6151845"/>
                  <a:pt x="5735977" y="6128949"/>
                </a:cubicBezTo>
                <a:cubicBezTo>
                  <a:pt x="5735977" y="6124786"/>
                  <a:pt x="5733926" y="6120623"/>
                  <a:pt x="5729824" y="6120623"/>
                </a:cubicBezTo>
                <a:cubicBezTo>
                  <a:pt x="5723673" y="6120623"/>
                  <a:pt x="5713419" y="6122705"/>
                  <a:pt x="5705217" y="6122705"/>
                </a:cubicBezTo>
                <a:cubicBezTo>
                  <a:pt x="5686761" y="6122705"/>
                  <a:pt x="5686761" y="6112298"/>
                  <a:pt x="5686761" y="6085238"/>
                </a:cubicBezTo>
                <a:cubicBezTo>
                  <a:pt x="5686761" y="6085238"/>
                  <a:pt x="5686761" y="6085238"/>
                  <a:pt x="5686761" y="6008224"/>
                </a:cubicBezTo>
                <a:cubicBezTo>
                  <a:pt x="5686761" y="6008224"/>
                  <a:pt x="5686761" y="6008224"/>
                  <a:pt x="5729824" y="6008224"/>
                </a:cubicBezTo>
                <a:cubicBezTo>
                  <a:pt x="5733926" y="6008224"/>
                  <a:pt x="5735977" y="6006143"/>
                  <a:pt x="5735977" y="6001980"/>
                </a:cubicBezTo>
                <a:cubicBezTo>
                  <a:pt x="5735977" y="6001980"/>
                  <a:pt x="5735977" y="6001980"/>
                  <a:pt x="5735977" y="5977002"/>
                </a:cubicBezTo>
                <a:cubicBezTo>
                  <a:pt x="5735977" y="5972839"/>
                  <a:pt x="5733926" y="5970757"/>
                  <a:pt x="5729824" y="5970757"/>
                </a:cubicBezTo>
                <a:cubicBezTo>
                  <a:pt x="5729824" y="5970757"/>
                  <a:pt x="5729824" y="5970757"/>
                  <a:pt x="5686761" y="5970757"/>
                </a:cubicBezTo>
                <a:cubicBezTo>
                  <a:pt x="5686761" y="5970757"/>
                  <a:pt x="5686761" y="5970757"/>
                  <a:pt x="5686761" y="5933291"/>
                </a:cubicBezTo>
                <a:cubicBezTo>
                  <a:pt x="5686761" y="5931210"/>
                  <a:pt x="5684709" y="5929128"/>
                  <a:pt x="5684709" y="5927047"/>
                </a:cubicBezTo>
                <a:cubicBezTo>
                  <a:pt x="5682658" y="5927047"/>
                  <a:pt x="5680608" y="5927047"/>
                  <a:pt x="5678557" y="5927047"/>
                </a:cubicBezTo>
                <a:close/>
                <a:moveTo>
                  <a:pt x="5312653" y="5897825"/>
                </a:moveTo>
                <a:cubicBezTo>
                  <a:pt x="5302343" y="5897825"/>
                  <a:pt x="5271414" y="5897825"/>
                  <a:pt x="5232236" y="5901977"/>
                </a:cubicBezTo>
                <a:cubicBezTo>
                  <a:pt x="5230173" y="5901977"/>
                  <a:pt x="5226049" y="5906129"/>
                  <a:pt x="5226049" y="5910281"/>
                </a:cubicBezTo>
                <a:cubicBezTo>
                  <a:pt x="5226049" y="5910281"/>
                  <a:pt x="5226049" y="5910281"/>
                  <a:pt x="5226049" y="6151093"/>
                </a:cubicBezTo>
                <a:cubicBezTo>
                  <a:pt x="5226049" y="6155245"/>
                  <a:pt x="5230173" y="6157321"/>
                  <a:pt x="5234297" y="6157321"/>
                </a:cubicBezTo>
                <a:cubicBezTo>
                  <a:pt x="5234297" y="6157321"/>
                  <a:pt x="5234297" y="6157321"/>
                  <a:pt x="5263165" y="6157321"/>
                </a:cubicBezTo>
                <a:cubicBezTo>
                  <a:pt x="5267290" y="6157321"/>
                  <a:pt x="5271414" y="6155245"/>
                  <a:pt x="5271414" y="6151093"/>
                </a:cubicBezTo>
                <a:cubicBezTo>
                  <a:pt x="5271414" y="6151093"/>
                  <a:pt x="5271414" y="6151093"/>
                  <a:pt x="5271414" y="6055599"/>
                </a:cubicBezTo>
                <a:cubicBezTo>
                  <a:pt x="5279661" y="6055599"/>
                  <a:pt x="5298219" y="6057674"/>
                  <a:pt x="5320901" y="6057674"/>
                </a:cubicBezTo>
                <a:cubicBezTo>
                  <a:pt x="5320901" y="6057674"/>
                  <a:pt x="5320901" y="6057674"/>
                  <a:pt x="5362142" y="6153168"/>
                </a:cubicBezTo>
                <a:cubicBezTo>
                  <a:pt x="5364203" y="6157321"/>
                  <a:pt x="5366265" y="6157321"/>
                  <a:pt x="5368327" y="6157321"/>
                </a:cubicBezTo>
                <a:cubicBezTo>
                  <a:pt x="5368327" y="6157321"/>
                  <a:pt x="5368327" y="6157321"/>
                  <a:pt x="5401320" y="6157321"/>
                </a:cubicBezTo>
                <a:cubicBezTo>
                  <a:pt x="5405443" y="6157321"/>
                  <a:pt x="5407505" y="6157321"/>
                  <a:pt x="5407505" y="6155245"/>
                </a:cubicBezTo>
                <a:cubicBezTo>
                  <a:pt x="5409567" y="6153168"/>
                  <a:pt x="5409567" y="6151093"/>
                  <a:pt x="5409567" y="6149017"/>
                </a:cubicBezTo>
                <a:lnTo>
                  <a:pt x="5362142" y="6045219"/>
                </a:lnTo>
                <a:cubicBezTo>
                  <a:pt x="5393071" y="6030687"/>
                  <a:pt x="5407505" y="6007851"/>
                  <a:pt x="5407505" y="5976711"/>
                </a:cubicBezTo>
                <a:cubicBezTo>
                  <a:pt x="5407505" y="5941420"/>
                  <a:pt x="5391009" y="5897825"/>
                  <a:pt x="5318839" y="5897825"/>
                </a:cubicBezTo>
                <a:cubicBezTo>
                  <a:pt x="5318839" y="5897825"/>
                  <a:pt x="5316777" y="5897825"/>
                  <a:pt x="5312653" y="5897825"/>
                </a:cubicBezTo>
                <a:close/>
                <a:moveTo>
                  <a:pt x="6675208" y="5864819"/>
                </a:moveTo>
                <a:cubicBezTo>
                  <a:pt x="6677269" y="5862758"/>
                  <a:pt x="6681390" y="5862758"/>
                  <a:pt x="6683451" y="5864819"/>
                </a:cubicBezTo>
                <a:cubicBezTo>
                  <a:pt x="6726720" y="5875120"/>
                  <a:pt x="6759687" y="5893664"/>
                  <a:pt x="6790593" y="5926632"/>
                </a:cubicBezTo>
                <a:cubicBezTo>
                  <a:pt x="6792654" y="5928692"/>
                  <a:pt x="6794714" y="5930752"/>
                  <a:pt x="6794714" y="5932813"/>
                </a:cubicBezTo>
                <a:cubicBezTo>
                  <a:pt x="6792654" y="5936933"/>
                  <a:pt x="6790593" y="5936933"/>
                  <a:pt x="6786472" y="5938994"/>
                </a:cubicBezTo>
                <a:cubicBezTo>
                  <a:pt x="6695813" y="5982263"/>
                  <a:pt x="6695813" y="5982263"/>
                  <a:pt x="6695813" y="5982263"/>
                </a:cubicBezTo>
                <a:cubicBezTo>
                  <a:pt x="6691692" y="5984323"/>
                  <a:pt x="6687571" y="5984323"/>
                  <a:pt x="6685511" y="5984323"/>
                </a:cubicBezTo>
                <a:cubicBezTo>
                  <a:pt x="6683451" y="5982263"/>
                  <a:pt x="6681390" y="5978142"/>
                  <a:pt x="6681390" y="5974021"/>
                </a:cubicBezTo>
                <a:cubicBezTo>
                  <a:pt x="6673148" y="5873060"/>
                  <a:pt x="6673148" y="5873060"/>
                  <a:pt x="6673148" y="5873060"/>
                </a:cubicBezTo>
                <a:cubicBezTo>
                  <a:pt x="6673148" y="5868939"/>
                  <a:pt x="6673148" y="5866879"/>
                  <a:pt x="6675208" y="5864819"/>
                </a:cubicBezTo>
                <a:close/>
                <a:moveTo>
                  <a:pt x="6617873" y="5864048"/>
                </a:moveTo>
                <a:cubicBezTo>
                  <a:pt x="6619419" y="5863791"/>
                  <a:pt x="6620964" y="5863791"/>
                  <a:pt x="6621994" y="5864823"/>
                </a:cubicBezTo>
                <a:cubicBezTo>
                  <a:pt x="6621994" y="5866888"/>
                  <a:pt x="6624054" y="5868953"/>
                  <a:pt x="6624054" y="5875148"/>
                </a:cubicBezTo>
                <a:cubicBezTo>
                  <a:pt x="6615813" y="5976336"/>
                  <a:pt x="6615813" y="5976336"/>
                  <a:pt x="6615813" y="5976336"/>
                </a:cubicBezTo>
                <a:cubicBezTo>
                  <a:pt x="6615813" y="5980466"/>
                  <a:pt x="6613752" y="5982531"/>
                  <a:pt x="6611692" y="5984596"/>
                </a:cubicBezTo>
                <a:cubicBezTo>
                  <a:pt x="6607571" y="5986661"/>
                  <a:pt x="6605510" y="5986661"/>
                  <a:pt x="6601390" y="5984596"/>
                </a:cubicBezTo>
                <a:cubicBezTo>
                  <a:pt x="6510730" y="5939165"/>
                  <a:pt x="6510730" y="5939165"/>
                  <a:pt x="6510730" y="5939165"/>
                </a:cubicBezTo>
                <a:cubicBezTo>
                  <a:pt x="6506610" y="5939165"/>
                  <a:pt x="6504549" y="5937100"/>
                  <a:pt x="6502489" y="5932970"/>
                </a:cubicBezTo>
                <a:cubicBezTo>
                  <a:pt x="6502489" y="5930904"/>
                  <a:pt x="6504549" y="5928840"/>
                  <a:pt x="6506610" y="5926774"/>
                </a:cubicBezTo>
                <a:cubicBezTo>
                  <a:pt x="6537516" y="5893734"/>
                  <a:pt x="6570483" y="5875148"/>
                  <a:pt x="6613752" y="5864823"/>
                </a:cubicBezTo>
                <a:cubicBezTo>
                  <a:pt x="6614782" y="5864823"/>
                  <a:pt x="6616328" y="5864307"/>
                  <a:pt x="6617873" y="5864048"/>
                </a:cubicBezTo>
                <a:close/>
                <a:moveTo>
                  <a:pt x="6649186" y="5828859"/>
                </a:moveTo>
                <a:cubicBezTo>
                  <a:pt x="6529433" y="5828859"/>
                  <a:pt x="6432355" y="5926985"/>
                  <a:pt x="6432355" y="6048029"/>
                </a:cubicBezTo>
                <a:cubicBezTo>
                  <a:pt x="6432355" y="6169072"/>
                  <a:pt x="6529433" y="6267198"/>
                  <a:pt x="6649186" y="6267198"/>
                </a:cubicBezTo>
                <a:cubicBezTo>
                  <a:pt x="6768939" y="6267198"/>
                  <a:pt x="6866018" y="6169072"/>
                  <a:pt x="6866018" y="6048029"/>
                </a:cubicBezTo>
                <a:cubicBezTo>
                  <a:pt x="6866018" y="5926985"/>
                  <a:pt x="6768939" y="5828859"/>
                  <a:pt x="6649186" y="5828859"/>
                </a:cubicBezTo>
                <a:close/>
                <a:moveTo>
                  <a:pt x="6648602" y="5797300"/>
                </a:moveTo>
                <a:cubicBezTo>
                  <a:pt x="6784816" y="5797300"/>
                  <a:pt x="6895240" y="5909032"/>
                  <a:pt x="6895240" y="6046861"/>
                </a:cubicBezTo>
                <a:cubicBezTo>
                  <a:pt x="6895240" y="6184689"/>
                  <a:pt x="6784816" y="6296422"/>
                  <a:pt x="6648602" y="6296422"/>
                </a:cubicBezTo>
                <a:cubicBezTo>
                  <a:pt x="6512387" y="6296422"/>
                  <a:pt x="6401963" y="6184689"/>
                  <a:pt x="6401963" y="6046861"/>
                </a:cubicBezTo>
                <a:cubicBezTo>
                  <a:pt x="6401963" y="5909032"/>
                  <a:pt x="6512387" y="5797300"/>
                  <a:pt x="6648602" y="5797300"/>
                </a:cubicBezTo>
                <a:close/>
                <a:moveTo>
                  <a:pt x="6635678" y="5718724"/>
                </a:moveTo>
                <a:cubicBezTo>
                  <a:pt x="6627452" y="5733273"/>
                  <a:pt x="6623339" y="5751979"/>
                  <a:pt x="6623339" y="5768607"/>
                </a:cubicBezTo>
                <a:cubicBezTo>
                  <a:pt x="6619226" y="5768607"/>
                  <a:pt x="6602773" y="5770685"/>
                  <a:pt x="6600717" y="5772764"/>
                </a:cubicBezTo>
                <a:cubicBezTo>
                  <a:pt x="6594547" y="5754058"/>
                  <a:pt x="6586321" y="5737430"/>
                  <a:pt x="6573982" y="5727038"/>
                </a:cubicBezTo>
                <a:cubicBezTo>
                  <a:pt x="6573982" y="5724959"/>
                  <a:pt x="6573982" y="5724959"/>
                  <a:pt x="6573982" y="5724959"/>
                </a:cubicBezTo>
                <a:cubicBezTo>
                  <a:pt x="6571926" y="5727038"/>
                  <a:pt x="6571926" y="5727038"/>
                  <a:pt x="6571926" y="5727038"/>
                </a:cubicBezTo>
                <a:cubicBezTo>
                  <a:pt x="6565756" y="5727038"/>
                  <a:pt x="6557530" y="5729116"/>
                  <a:pt x="6551360" y="5731195"/>
                </a:cubicBezTo>
                <a:cubicBezTo>
                  <a:pt x="6551360" y="5733273"/>
                  <a:pt x="6551360" y="5733273"/>
                  <a:pt x="6551360" y="5733273"/>
                </a:cubicBezTo>
                <a:cubicBezTo>
                  <a:pt x="6549304" y="5741587"/>
                  <a:pt x="6547247" y="5749901"/>
                  <a:pt x="6547247" y="5758215"/>
                </a:cubicBezTo>
                <a:cubicBezTo>
                  <a:pt x="6547247" y="5768607"/>
                  <a:pt x="6549304" y="5776921"/>
                  <a:pt x="6551360" y="5785235"/>
                </a:cubicBezTo>
                <a:cubicBezTo>
                  <a:pt x="6549304" y="5785235"/>
                  <a:pt x="6532851" y="5793548"/>
                  <a:pt x="6530795" y="5793548"/>
                </a:cubicBezTo>
                <a:cubicBezTo>
                  <a:pt x="6520512" y="5778999"/>
                  <a:pt x="6508173" y="5764450"/>
                  <a:pt x="6493777" y="5758215"/>
                </a:cubicBezTo>
                <a:cubicBezTo>
                  <a:pt x="6493777" y="5756136"/>
                  <a:pt x="6493777" y="5756136"/>
                  <a:pt x="6493777" y="5756136"/>
                </a:cubicBezTo>
                <a:cubicBezTo>
                  <a:pt x="6491721" y="5756136"/>
                  <a:pt x="6491721" y="5756136"/>
                  <a:pt x="6491721" y="5756136"/>
                </a:cubicBezTo>
                <a:cubicBezTo>
                  <a:pt x="6485551" y="5760293"/>
                  <a:pt x="6479382" y="5764450"/>
                  <a:pt x="6473212" y="5768607"/>
                </a:cubicBezTo>
                <a:cubicBezTo>
                  <a:pt x="6473212" y="5768607"/>
                  <a:pt x="6473212" y="5770685"/>
                  <a:pt x="6473212" y="5770685"/>
                </a:cubicBezTo>
                <a:cubicBezTo>
                  <a:pt x="6473212" y="5787313"/>
                  <a:pt x="6477325" y="5803941"/>
                  <a:pt x="6485551" y="5820568"/>
                </a:cubicBezTo>
                <a:cubicBezTo>
                  <a:pt x="6483495" y="5822647"/>
                  <a:pt x="6471156" y="5830961"/>
                  <a:pt x="6469099" y="5833039"/>
                </a:cubicBezTo>
                <a:cubicBezTo>
                  <a:pt x="6456760" y="5820568"/>
                  <a:pt x="6440308" y="5810176"/>
                  <a:pt x="6425911" y="5806019"/>
                </a:cubicBezTo>
                <a:cubicBezTo>
                  <a:pt x="6423855" y="5806019"/>
                  <a:pt x="6423855" y="5806019"/>
                  <a:pt x="6423855" y="5806019"/>
                </a:cubicBezTo>
                <a:cubicBezTo>
                  <a:pt x="6423855" y="5808097"/>
                  <a:pt x="6423855" y="5808097"/>
                  <a:pt x="6423855" y="5808097"/>
                </a:cubicBezTo>
                <a:cubicBezTo>
                  <a:pt x="6417685" y="5810176"/>
                  <a:pt x="6411516" y="5816411"/>
                  <a:pt x="6407402" y="5822647"/>
                </a:cubicBezTo>
                <a:cubicBezTo>
                  <a:pt x="6407402" y="5824725"/>
                  <a:pt x="6407402" y="5824725"/>
                  <a:pt x="6407402" y="5824725"/>
                </a:cubicBezTo>
                <a:cubicBezTo>
                  <a:pt x="6411516" y="5839274"/>
                  <a:pt x="6421798" y="5855902"/>
                  <a:pt x="6434138" y="5870451"/>
                </a:cubicBezTo>
                <a:cubicBezTo>
                  <a:pt x="6432082" y="5870451"/>
                  <a:pt x="6421798" y="5885000"/>
                  <a:pt x="6419742" y="5887079"/>
                </a:cubicBezTo>
                <a:cubicBezTo>
                  <a:pt x="6405346" y="5878765"/>
                  <a:pt x="6386837" y="5874608"/>
                  <a:pt x="6370385" y="5874608"/>
                </a:cubicBezTo>
                <a:cubicBezTo>
                  <a:pt x="6368328" y="5874608"/>
                  <a:pt x="6368328" y="5874608"/>
                  <a:pt x="6368328" y="5874608"/>
                </a:cubicBezTo>
                <a:cubicBezTo>
                  <a:pt x="6364215" y="5878765"/>
                  <a:pt x="6360102" y="5887079"/>
                  <a:pt x="6358046" y="5893314"/>
                </a:cubicBezTo>
                <a:cubicBezTo>
                  <a:pt x="6358046" y="5895393"/>
                  <a:pt x="6358046" y="5895393"/>
                  <a:pt x="6358046" y="5895393"/>
                </a:cubicBezTo>
                <a:cubicBezTo>
                  <a:pt x="6366272" y="5909941"/>
                  <a:pt x="6378611" y="5922412"/>
                  <a:pt x="6395063" y="5932805"/>
                </a:cubicBezTo>
                <a:cubicBezTo>
                  <a:pt x="6393007" y="5934883"/>
                  <a:pt x="6386837" y="5949432"/>
                  <a:pt x="6386837" y="5951511"/>
                </a:cubicBezTo>
                <a:cubicBezTo>
                  <a:pt x="6368328" y="5947354"/>
                  <a:pt x="6349820" y="5947354"/>
                  <a:pt x="6335424" y="5951511"/>
                </a:cubicBezTo>
                <a:cubicBezTo>
                  <a:pt x="6333367" y="5951511"/>
                  <a:pt x="6333367" y="5951511"/>
                  <a:pt x="6333367" y="5951511"/>
                </a:cubicBezTo>
                <a:cubicBezTo>
                  <a:pt x="6333367" y="5953589"/>
                  <a:pt x="6333367" y="5953589"/>
                  <a:pt x="6333367" y="5953589"/>
                </a:cubicBezTo>
                <a:cubicBezTo>
                  <a:pt x="6331311" y="5959825"/>
                  <a:pt x="6329254" y="5968138"/>
                  <a:pt x="6327198" y="5974373"/>
                </a:cubicBezTo>
                <a:cubicBezTo>
                  <a:pt x="6329254" y="5976452"/>
                  <a:pt x="6329254" y="5976452"/>
                  <a:pt x="6329254" y="5976452"/>
                </a:cubicBezTo>
                <a:cubicBezTo>
                  <a:pt x="6339537" y="5986844"/>
                  <a:pt x="6355989" y="5997237"/>
                  <a:pt x="6372441" y="6001393"/>
                </a:cubicBezTo>
                <a:cubicBezTo>
                  <a:pt x="6372441" y="6003472"/>
                  <a:pt x="6370385" y="6022178"/>
                  <a:pt x="6370385" y="6024257"/>
                </a:cubicBezTo>
                <a:cubicBezTo>
                  <a:pt x="6351876" y="6024257"/>
                  <a:pt x="6333367" y="6028413"/>
                  <a:pt x="6321028" y="6036728"/>
                </a:cubicBezTo>
                <a:cubicBezTo>
                  <a:pt x="6318972" y="6036728"/>
                  <a:pt x="6318972" y="6036728"/>
                  <a:pt x="6318972" y="6036728"/>
                </a:cubicBezTo>
                <a:cubicBezTo>
                  <a:pt x="6318972" y="6038805"/>
                  <a:pt x="6318972" y="6038805"/>
                  <a:pt x="6318972" y="6038805"/>
                </a:cubicBezTo>
                <a:cubicBezTo>
                  <a:pt x="6318972" y="6040884"/>
                  <a:pt x="6318972" y="6045041"/>
                  <a:pt x="6318972" y="6049198"/>
                </a:cubicBezTo>
                <a:cubicBezTo>
                  <a:pt x="6318972" y="6053355"/>
                  <a:pt x="6318972" y="6057512"/>
                  <a:pt x="6318972" y="6059590"/>
                </a:cubicBezTo>
                <a:cubicBezTo>
                  <a:pt x="6318972" y="6061669"/>
                  <a:pt x="6318972" y="6061669"/>
                  <a:pt x="6318972" y="6061669"/>
                </a:cubicBezTo>
                <a:cubicBezTo>
                  <a:pt x="6321028" y="6061669"/>
                  <a:pt x="6321028" y="6061669"/>
                  <a:pt x="6321028" y="6061669"/>
                </a:cubicBezTo>
                <a:cubicBezTo>
                  <a:pt x="6333367" y="6069983"/>
                  <a:pt x="6351876" y="6074140"/>
                  <a:pt x="6370385" y="6074140"/>
                </a:cubicBezTo>
                <a:cubicBezTo>
                  <a:pt x="6370385" y="6078296"/>
                  <a:pt x="6372441" y="6094924"/>
                  <a:pt x="6374498" y="6097002"/>
                </a:cubicBezTo>
                <a:cubicBezTo>
                  <a:pt x="6355989" y="6103237"/>
                  <a:pt x="6339537" y="6111551"/>
                  <a:pt x="6329254" y="6124022"/>
                </a:cubicBezTo>
                <a:cubicBezTo>
                  <a:pt x="6327198" y="6124022"/>
                  <a:pt x="6327198" y="6124022"/>
                  <a:pt x="6327198" y="6124022"/>
                </a:cubicBezTo>
                <a:cubicBezTo>
                  <a:pt x="6327198" y="6126101"/>
                  <a:pt x="6327198" y="6126101"/>
                  <a:pt x="6327198" y="6126101"/>
                </a:cubicBezTo>
                <a:cubicBezTo>
                  <a:pt x="6329254" y="6132336"/>
                  <a:pt x="6331311" y="6140650"/>
                  <a:pt x="6333367" y="6146886"/>
                </a:cubicBezTo>
                <a:cubicBezTo>
                  <a:pt x="6335424" y="6146886"/>
                  <a:pt x="6335424" y="6146886"/>
                  <a:pt x="6335424" y="6146886"/>
                </a:cubicBezTo>
                <a:cubicBezTo>
                  <a:pt x="6349820" y="6153121"/>
                  <a:pt x="6370385" y="6151042"/>
                  <a:pt x="6386837" y="6146886"/>
                </a:cubicBezTo>
                <a:cubicBezTo>
                  <a:pt x="6386837" y="6148963"/>
                  <a:pt x="6395063" y="6165592"/>
                  <a:pt x="6395063" y="6167669"/>
                </a:cubicBezTo>
                <a:cubicBezTo>
                  <a:pt x="6380668" y="6175983"/>
                  <a:pt x="6366272" y="6190533"/>
                  <a:pt x="6358046" y="6205082"/>
                </a:cubicBezTo>
                <a:cubicBezTo>
                  <a:pt x="6358046" y="6207160"/>
                  <a:pt x="6358046" y="6207160"/>
                  <a:pt x="6358046" y="6207160"/>
                </a:cubicBezTo>
                <a:cubicBezTo>
                  <a:pt x="6360102" y="6211318"/>
                  <a:pt x="6366272" y="6219631"/>
                  <a:pt x="6370385" y="6225866"/>
                </a:cubicBezTo>
                <a:cubicBezTo>
                  <a:pt x="6386837" y="6225866"/>
                  <a:pt x="6405346" y="6221710"/>
                  <a:pt x="6421798" y="6211318"/>
                </a:cubicBezTo>
                <a:cubicBezTo>
                  <a:pt x="6421798" y="6213395"/>
                  <a:pt x="6432082" y="6227945"/>
                  <a:pt x="6434138" y="6230024"/>
                </a:cubicBezTo>
                <a:cubicBezTo>
                  <a:pt x="6421798" y="6242494"/>
                  <a:pt x="6411516" y="6259121"/>
                  <a:pt x="6407402" y="6275750"/>
                </a:cubicBezTo>
                <a:cubicBezTo>
                  <a:pt x="6409459" y="6277827"/>
                  <a:pt x="6409459" y="6277827"/>
                  <a:pt x="6409459" y="6277827"/>
                </a:cubicBezTo>
                <a:cubicBezTo>
                  <a:pt x="6411516" y="6281985"/>
                  <a:pt x="6419742" y="6288220"/>
                  <a:pt x="6423855" y="6292377"/>
                </a:cubicBezTo>
                <a:cubicBezTo>
                  <a:pt x="6425911" y="6292377"/>
                  <a:pt x="6425911" y="6292377"/>
                  <a:pt x="6425911" y="6292377"/>
                </a:cubicBezTo>
                <a:cubicBezTo>
                  <a:pt x="6440308" y="6288220"/>
                  <a:pt x="6456760" y="6279906"/>
                  <a:pt x="6471156" y="6265357"/>
                </a:cubicBezTo>
                <a:cubicBezTo>
                  <a:pt x="6473212" y="6267436"/>
                  <a:pt x="6485551" y="6277827"/>
                  <a:pt x="6487608" y="6279906"/>
                </a:cubicBezTo>
                <a:cubicBezTo>
                  <a:pt x="6479382" y="6296533"/>
                  <a:pt x="6475269" y="6313162"/>
                  <a:pt x="6475269" y="6329789"/>
                </a:cubicBezTo>
                <a:cubicBezTo>
                  <a:pt x="6475269" y="6329789"/>
                  <a:pt x="6475269" y="6331868"/>
                  <a:pt x="6475269" y="6331868"/>
                </a:cubicBezTo>
                <a:cubicBezTo>
                  <a:pt x="6479382" y="6336024"/>
                  <a:pt x="6487608" y="6340182"/>
                  <a:pt x="6493777" y="6342259"/>
                </a:cubicBezTo>
                <a:cubicBezTo>
                  <a:pt x="6493777" y="6344338"/>
                  <a:pt x="6493777" y="6344338"/>
                  <a:pt x="6493777" y="6344338"/>
                </a:cubicBezTo>
                <a:cubicBezTo>
                  <a:pt x="6495834" y="6342259"/>
                  <a:pt x="6495834" y="6342259"/>
                  <a:pt x="6495834" y="6342259"/>
                </a:cubicBezTo>
                <a:cubicBezTo>
                  <a:pt x="6510230" y="6333946"/>
                  <a:pt x="6522569" y="6321475"/>
                  <a:pt x="6532851" y="6304848"/>
                </a:cubicBezTo>
                <a:cubicBezTo>
                  <a:pt x="6534908" y="6306926"/>
                  <a:pt x="6549304" y="6313162"/>
                  <a:pt x="6551360" y="6313162"/>
                </a:cubicBezTo>
                <a:cubicBezTo>
                  <a:pt x="6549304" y="6321475"/>
                  <a:pt x="6549304" y="6331868"/>
                  <a:pt x="6549304" y="6340182"/>
                </a:cubicBezTo>
                <a:cubicBezTo>
                  <a:pt x="6549304" y="6348495"/>
                  <a:pt x="6549304" y="6358888"/>
                  <a:pt x="6551360" y="6365123"/>
                </a:cubicBezTo>
                <a:cubicBezTo>
                  <a:pt x="6551360" y="6367201"/>
                  <a:pt x="6551360" y="6367201"/>
                  <a:pt x="6551360" y="6367201"/>
                </a:cubicBezTo>
                <a:cubicBezTo>
                  <a:pt x="6553417" y="6367201"/>
                  <a:pt x="6553417" y="6367201"/>
                  <a:pt x="6553417" y="6367201"/>
                </a:cubicBezTo>
                <a:cubicBezTo>
                  <a:pt x="6557530" y="6369280"/>
                  <a:pt x="6567812" y="6371358"/>
                  <a:pt x="6573982" y="6373436"/>
                </a:cubicBezTo>
                <a:cubicBezTo>
                  <a:pt x="6576039" y="6373436"/>
                  <a:pt x="6576039" y="6373436"/>
                  <a:pt x="6576039" y="6373436"/>
                </a:cubicBezTo>
                <a:cubicBezTo>
                  <a:pt x="6586321" y="6360966"/>
                  <a:pt x="6596604" y="6344338"/>
                  <a:pt x="6600717" y="6327711"/>
                </a:cubicBezTo>
                <a:cubicBezTo>
                  <a:pt x="6602773" y="6327711"/>
                  <a:pt x="6621282" y="6329789"/>
                  <a:pt x="6623339" y="6329789"/>
                </a:cubicBezTo>
                <a:cubicBezTo>
                  <a:pt x="6623339" y="6348495"/>
                  <a:pt x="6627452" y="6367201"/>
                  <a:pt x="6635678" y="6381750"/>
                </a:cubicBezTo>
                <a:cubicBezTo>
                  <a:pt x="6637734" y="6381750"/>
                  <a:pt x="6637734" y="6381750"/>
                  <a:pt x="6637734" y="6381750"/>
                </a:cubicBezTo>
                <a:cubicBezTo>
                  <a:pt x="6643904" y="6381750"/>
                  <a:pt x="6654187" y="6381750"/>
                  <a:pt x="6658300" y="6381750"/>
                </a:cubicBezTo>
                <a:cubicBezTo>
                  <a:pt x="6660357" y="6381750"/>
                  <a:pt x="6660357" y="6381750"/>
                  <a:pt x="6660357" y="6381750"/>
                </a:cubicBezTo>
                <a:cubicBezTo>
                  <a:pt x="6668583" y="6367201"/>
                  <a:pt x="6672696" y="6348495"/>
                  <a:pt x="6674753" y="6329789"/>
                </a:cubicBezTo>
                <a:cubicBezTo>
                  <a:pt x="6676809" y="6329789"/>
                  <a:pt x="6693261" y="6327711"/>
                  <a:pt x="6695318" y="6327711"/>
                </a:cubicBezTo>
                <a:cubicBezTo>
                  <a:pt x="6699431" y="6344338"/>
                  <a:pt x="6709714" y="6360966"/>
                  <a:pt x="6722053" y="6373436"/>
                </a:cubicBezTo>
                <a:cubicBezTo>
                  <a:pt x="6728222" y="6371358"/>
                  <a:pt x="6738505" y="6369280"/>
                  <a:pt x="6742618" y="6367201"/>
                </a:cubicBezTo>
                <a:cubicBezTo>
                  <a:pt x="6744675" y="6367201"/>
                  <a:pt x="6744675" y="6367201"/>
                  <a:pt x="6744675" y="6367201"/>
                </a:cubicBezTo>
                <a:cubicBezTo>
                  <a:pt x="6746731" y="6358888"/>
                  <a:pt x="6746731" y="6348495"/>
                  <a:pt x="6746731" y="6340182"/>
                </a:cubicBezTo>
                <a:cubicBezTo>
                  <a:pt x="6746731" y="6331868"/>
                  <a:pt x="6746731" y="6321475"/>
                  <a:pt x="6744675" y="6313162"/>
                </a:cubicBezTo>
                <a:cubicBezTo>
                  <a:pt x="6746731" y="6313162"/>
                  <a:pt x="6763183" y="6306926"/>
                  <a:pt x="6765240" y="6304848"/>
                </a:cubicBezTo>
                <a:cubicBezTo>
                  <a:pt x="6773466" y="6321475"/>
                  <a:pt x="6787862" y="6333946"/>
                  <a:pt x="6802257" y="6342259"/>
                </a:cubicBezTo>
                <a:cubicBezTo>
                  <a:pt x="6808427" y="6340182"/>
                  <a:pt x="6816653" y="6336024"/>
                  <a:pt x="6820766" y="6331868"/>
                </a:cubicBezTo>
                <a:cubicBezTo>
                  <a:pt x="6822823" y="6329789"/>
                  <a:pt x="6822823" y="6329789"/>
                  <a:pt x="6822823" y="6329789"/>
                </a:cubicBezTo>
                <a:cubicBezTo>
                  <a:pt x="6822823" y="6329789"/>
                  <a:pt x="6822823" y="6329789"/>
                  <a:pt x="6822823" y="6327711"/>
                </a:cubicBezTo>
                <a:cubicBezTo>
                  <a:pt x="6822823" y="6313162"/>
                  <a:pt x="6816653" y="6294456"/>
                  <a:pt x="6808427" y="6279906"/>
                </a:cubicBezTo>
                <a:cubicBezTo>
                  <a:pt x="6810484" y="6277827"/>
                  <a:pt x="6822823" y="6267436"/>
                  <a:pt x="6824879" y="6265357"/>
                </a:cubicBezTo>
                <a:cubicBezTo>
                  <a:pt x="6839275" y="6277827"/>
                  <a:pt x="6855727" y="6288220"/>
                  <a:pt x="6870123" y="6292377"/>
                </a:cubicBezTo>
                <a:cubicBezTo>
                  <a:pt x="6872180" y="6292377"/>
                  <a:pt x="6872180" y="6292377"/>
                  <a:pt x="6872180" y="6292377"/>
                </a:cubicBezTo>
                <a:cubicBezTo>
                  <a:pt x="6876293" y="6288220"/>
                  <a:pt x="6884519" y="6281985"/>
                  <a:pt x="6886576" y="6275750"/>
                </a:cubicBezTo>
                <a:cubicBezTo>
                  <a:pt x="6888632" y="6275750"/>
                  <a:pt x="6888632" y="6275750"/>
                  <a:pt x="6888632" y="6275750"/>
                </a:cubicBezTo>
                <a:cubicBezTo>
                  <a:pt x="6884519" y="6259121"/>
                  <a:pt x="6874236" y="6242494"/>
                  <a:pt x="6861897" y="6230024"/>
                </a:cubicBezTo>
                <a:cubicBezTo>
                  <a:pt x="6863954" y="6227945"/>
                  <a:pt x="6874236" y="6213395"/>
                  <a:pt x="6874236" y="6211318"/>
                </a:cubicBezTo>
                <a:cubicBezTo>
                  <a:pt x="6890689" y="6219631"/>
                  <a:pt x="6909198" y="6225866"/>
                  <a:pt x="6925650" y="6225866"/>
                </a:cubicBezTo>
                <a:cubicBezTo>
                  <a:pt x="6927706" y="6223788"/>
                  <a:pt x="6927706" y="6223788"/>
                  <a:pt x="6927706" y="6223788"/>
                </a:cubicBezTo>
                <a:cubicBezTo>
                  <a:pt x="6929763" y="6219631"/>
                  <a:pt x="6935933" y="6211318"/>
                  <a:pt x="6937989" y="6205082"/>
                </a:cubicBezTo>
                <a:cubicBezTo>
                  <a:pt x="6937989" y="6203004"/>
                  <a:pt x="6937989" y="6203004"/>
                  <a:pt x="6937989" y="6203004"/>
                </a:cubicBezTo>
                <a:cubicBezTo>
                  <a:pt x="6929763" y="6190533"/>
                  <a:pt x="6915367" y="6175983"/>
                  <a:pt x="6900972" y="6167669"/>
                </a:cubicBezTo>
                <a:cubicBezTo>
                  <a:pt x="6900972" y="6163513"/>
                  <a:pt x="6909198" y="6148963"/>
                  <a:pt x="6909198" y="6146886"/>
                </a:cubicBezTo>
                <a:cubicBezTo>
                  <a:pt x="6925650" y="6151042"/>
                  <a:pt x="6944159" y="6151042"/>
                  <a:pt x="6960611" y="6146886"/>
                </a:cubicBezTo>
                <a:cubicBezTo>
                  <a:pt x="6962667" y="6146886"/>
                  <a:pt x="6962667" y="6146886"/>
                  <a:pt x="6962667" y="6146886"/>
                </a:cubicBezTo>
                <a:cubicBezTo>
                  <a:pt x="6964724" y="6140650"/>
                  <a:pt x="6966781" y="6132336"/>
                  <a:pt x="6966781" y="6126101"/>
                </a:cubicBezTo>
                <a:cubicBezTo>
                  <a:pt x="6966781" y="6124022"/>
                  <a:pt x="6966781" y="6124022"/>
                  <a:pt x="6966781" y="6124022"/>
                </a:cubicBezTo>
                <a:cubicBezTo>
                  <a:pt x="6956498" y="6111551"/>
                  <a:pt x="6940046" y="6103237"/>
                  <a:pt x="6921537" y="6097002"/>
                </a:cubicBezTo>
                <a:cubicBezTo>
                  <a:pt x="6923593" y="6094924"/>
                  <a:pt x="6925650" y="6078296"/>
                  <a:pt x="6925650" y="6076218"/>
                </a:cubicBezTo>
                <a:cubicBezTo>
                  <a:pt x="6944159" y="6076218"/>
                  <a:pt x="6962667" y="6069983"/>
                  <a:pt x="6975007" y="6061669"/>
                </a:cubicBezTo>
                <a:cubicBezTo>
                  <a:pt x="6977063" y="6061669"/>
                  <a:pt x="6977063" y="6061669"/>
                  <a:pt x="6977063" y="6061669"/>
                </a:cubicBezTo>
                <a:cubicBezTo>
                  <a:pt x="6977063" y="6057512"/>
                  <a:pt x="6977063" y="6053355"/>
                  <a:pt x="6977063" y="6049198"/>
                </a:cubicBezTo>
                <a:cubicBezTo>
                  <a:pt x="6977063" y="6047119"/>
                  <a:pt x="6977063" y="6042963"/>
                  <a:pt x="6977063" y="6038805"/>
                </a:cubicBezTo>
                <a:cubicBezTo>
                  <a:pt x="6975007" y="6038805"/>
                  <a:pt x="6975007" y="6038805"/>
                  <a:pt x="6975007" y="6038805"/>
                </a:cubicBezTo>
                <a:cubicBezTo>
                  <a:pt x="6962667" y="6030492"/>
                  <a:pt x="6944159" y="6024257"/>
                  <a:pt x="6925650" y="6024257"/>
                </a:cubicBezTo>
                <a:cubicBezTo>
                  <a:pt x="6925650" y="6022178"/>
                  <a:pt x="6923593" y="6005551"/>
                  <a:pt x="6923593" y="6003472"/>
                </a:cubicBezTo>
                <a:cubicBezTo>
                  <a:pt x="6940046" y="5997237"/>
                  <a:pt x="6956498" y="5988923"/>
                  <a:pt x="6966781" y="5976452"/>
                </a:cubicBezTo>
                <a:cubicBezTo>
                  <a:pt x="6968837" y="5976452"/>
                  <a:pt x="6968837" y="5976452"/>
                  <a:pt x="6968837" y="5976452"/>
                </a:cubicBezTo>
                <a:cubicBezTo>
                  <a:pt x="6968837" y="5974373"/>
                  <a:pt x="6968837" y="5974373"/>
                  <a:pt x="6968837" y="5974373"/>
                </a:cubicBezTo>
                <a:cubicBezTo>
                  <a:pt x="6966781" y="5968138"/>
                  <a:pt x="6964724" y="5959825"/>
                  <a:pt x="6962667" y="5953589"/>
                </a:cubicBezTo>
                <a:cubicBezTo>
                  <a:pt x="6960611" y="5953589"/>
                  <a:pt x="6960611" y="5953589"/>
                  <a:pt x="6960611" y="5953589"/>
                </a:cubicBezTo>
                <a:cubicBezTo>
                  <a:pt x="6946215" y="5947354"/>
                  <a:pt x="6927706" y="5949432"/>
                  <a:pt x="6909198" y="5953589"/>
                </a:cubicBezTo>
                <a:cubicBezTo>
                  <a:pt x="6909198" y="5951511"/>
                  <a:pt x="6903028" y="5934883"/>
                  <a:pt x="6900972" y="5932805"/>
                </a:cubicBezTo>
                <a:cubicBezTo>
                  <a:pt x="6917424" y="5924491"/>
                  <a:pt x="6929763" y="5909941"/>
                  <a:pt x="6937989" y="5895393"/>
                </a:cubicBezTo>
                <a:cubicBezTo>
                  <a:pt x="6937989" y="5893314"/>
                  <a:pt x="6937989" y="5893314"/>
                  <a:pt x="6937989" y="5893314"/>
                </a:cubicBezTo>
                <a:cubicBezTo>
                  <a:pt x="6935933" y="5889157"/>
                  <a:pt x="6931820" y="5880843"/>
                  <a:pt x="6927706" y="5874608"/>
                </a:cubicBezTo>
                <a:cubicBezTo>
                  <a:pt x="6925650" y="5874608"/>
                  <a:pt x="6925650" y="5874608"/>
                  <a:pt x="6925650" y="5874608"/>
                </a:cubicBezTo>
                <a:cubicBezTo>
                  <a:pt x="6909198" y="5874608"/>
                  <a:pt x="6890689" y="5878765"/>
                  <a:pt x="6876293" y="5887079"/>
                </a:cubicBezTo>
                <a:cubicBezTo>
                  <a:pt x="6874236" y="5887079"/>
                  <a:pt x="6863954" y="5872529"/>
                  <a:pt x="6861897" y="5870451"/>
                </a:cubicBezTo>
                <a:cubicBezTo>
                  <a:pt x="6874236" y="5857980"/>
                  <a:pt x="6884519" y="5841353"/>
                  <a:pt x="6888632" y="5824725"/>
                </a:cubicBezTo>
                <a:cubicBezTo>
                  <a:pt x="6888632" y="5822647"/>
                  <a:pt x="6888632" y="5822647"/>
                  <a:pt x="6888632" y="5822647"/>
                </a:cubicBezTo>
                <a:cubicBezTo>
                  <a:pt x="6884519" y="5818490"/>
                  <a:pt x="6878350" y="5812254"/>
                  <a:pt x="6872180" y="5808097"/>
                </a:cubicBezTo>
                <a:cubicBezTo>
                  <a:pt x="6855727" y="5812254"/>
                  <a:pt x="6839275" y="5820568"/>
                  <a:pt x="6826936" y="5833039"/>
                </a:cubicBezTo>
                <a:cubicBezTo>
                  <a:pt x="6824879" y="5833039"/>
                  <a:pt x="6810484" y="5822647"/>
                  <a:pt x="6808427" y="5820568"/>
                </a:cubicBezTo>
                <a:cubicBezTo>
                  <a:pt x="6818710" y="5803941"/>
                  <a:pt x="6822823" y="5787313"/>
                  <a:pt x="6822823" y="5770685"/>
                </a:cubicBezTo>
                <a:cubicBezTo>
                  <a:pt x="6822823" y="5770685"/>
                  <a:pt x="6822823" y="5768607"/>
                  <a:pt x="6822823" y="5768607"/>
                </a:cubicBezTo>
                <a:cubicBezTo>
                  <a:pt x="6816653" y="5764450"/>
                  <a:pt x="6808427" y="5760293"/>
                  <a:pt x="6804314" y="5758215"/>
                </a:cubicBezTo>
                <a:cubicBezTo>
                  <a:pt x="6802257" y="5756136"/>
                  <a:pt x="6802257" y="5756136"/>
                  <a:pt x="6802257" y="5756136"/>
                </a:cubicBezTo>
                <a:cubicBezTo>
                  <a:pt x="6802257" y="5758215"/>
                  <a:pt x="6802257" y="5758215"/>
                  <a:pt x="6802257" y="5758215"/>
                </a:cubicBezTo>
                <a:cubicBezTo>
                  <a:pt x="6787862" y="5764450"/>
                  <a:pt x="6775523" y="5778999"/>
                  <a:pt x="6765240" y="5793548"/>
                </a:cubicBezTo>
                <a:cubicBezTo>
                  <a:pt x="6763183" y="5793548"/>
                  <a:pt x="6746731" y="5787313"/>
                  <a:pt x="6744675" y="5785235"/>
                </a:cubicBezTo>
                <a:cubicBezTo>
                  <a:pt x="6746731" y="5776921"/>
                  <a:pt x="6748788" y="5768607"/>
                  <a:pt x="6748788" y="5758215"/>
                </a:cubicBezTo>
                <a:cubicBezTo>
                  <a:pt x="6748788" y="5749901"/>
                  <a:pt x="6746731" y="5741587"/>
                  <a:pt x="6744675" y="5733273"/>
                </a:cubicBezTo>
                <a:cubicBezTo>
                  <a:pt x="6744675" y="5731195"/>
                  <a:pt x="6744675" y="5731195"/>
                  <a:pt x="6744675" y="5731195"/>
                </a:cubicBezTo>
                <a:cubicBezTo>
                  <a:pt x="6742618" y="5731195"/>
                  <a:pt x="6742618" y="5731195"/>
                  <a:pt x="6742618" y="5731195"/>
                </a:cubicBezTo>
                <a:cubicBezTo>
                  <a:pt x="6738505" y="5729116"/>
                  <a:pt x="6730279" y="5727038"/>
                  <a:pt x="6722053" y="5727038"/>
                </a:cubicBezTo>
                <a:cubicBezTo>
                  <a:pt x="6709714" y="5737430"/>
                  <a:pt x="6699431" y="5754058"/>
                  <a:pt x="6695318" y="5772764"/>
                </a:cubicBezTo>
                <a:cubicBezTo>
                  <a:pt x="6693261" y="5770685"/>
                  <a:pt x="6676809" y="5768607"/>
                  <a:pt x="6672696" y="5768607"/>
                </a:cubicBezTo>
                <a:cubicBezTo>
                  <a:pt x="6672696" y="5751979"/>
                  <a:pt x="6668583" y="5733273"/>
                  <a:pt x="6660357" y="5718724"/>
                </a:cubicBezTo>
                <a:cubicBezTo>
                  <a:pt x="6658300" y="5718724"/>
                  <a:pt x="6658300" y="5718724"/>
                  <a:pt x="6658300" y="5718724"/>
                </a:cubicBezTo>
                <a:cubicBezTo>
                  <a:pt x="6652131" y="5716645"/>
                  <a:pt x="6643904" y="5716645"/>
                  <a:pt x="6637734" y="5718724"/>
                </a:cubicBezTo>
                <a:cubicBezTo>
                  <a:pt x="6635678" y="5718724"/>
                  <a:pt x="6635678" y="5718724"/>
                  <a:pt x="6635678" y="5718724"/>
                </a:cubicBezTo>
                <a:close/>
                <a:moveTo>
                  <a:pt x="0" y="0"/>
                </a:moveTo>
                <a:lnTo>
                  <a:pt x="12192000" y="0"/>
                </a:lnTo>
                <a:lnTo>
                  <a:pt x="12192000" y="6858000"/>
                </a:lnTo>
                <a:lnTo>
                  <a:pt x="4539049" y="6858000"/>
                </a:lnTo>
                <a:lnTo>
                  <a:pt x="0" y="6858000"/>
                </a:lnTo>
                <a:lnTo>
                  <a:pt x="0" y="6273113"/>
                </a:lnTo>
                <a:close/>
              </a:path>
            </a:pathLst>
          </a:custGeom>
        </p:spPr>
        <p:txBody>
          <a:bodyPr wrap="square">
            <a:noAutofit/>
          </a:bodyPr>
          <a:lstStyle/>
          <a:p>
            <a:endParaRPr lang="en-US" dirty="0"/>
          </a:p>
        </p:txBody>
      </p:sp>
      <p:sp>
        <p:nvSpPr>
          <p:cNvPr id="7" name="Text Placeholder 6">
            <a:extLst>
              <a:ext uri="{FF2B5EF4-FFF2-40B4-BE49-F238E27FC236}">
                <a16:creationId xmlns:a16="http://schemas.microsoft.com/office/drawing/2014/main" id="{23834558-27F1-4188-B277-0880D2CE052B}"/>
              </a:ext>
            </a:extLst>
          </p:cNvPr>
          <p:cNvSpPr>
            <a:spLocks noGrp="1"/>
          </p:cNvSpPr>
          <p:nvPr>
            <p:ph type="body" sz="quarter" idx="14" hasCustomPrompt="1"/>
          </p:nvPr>
        </p:nvSpPr>
        <p:spPr>
          <a:xfrm>
            <a:off x="0" y="0"/>
            <a:ext cx="12192000" cy="6858000"/>
          </a:xfrm>
          <a:custGeom>
            <a:avLst/>
            <a:gdLst>
              <a:gd name="connsiteX0" fmla="*/ 6602777 w 12192000"/>
              <a:gd name="connsiteY0" fmla="*/ 6116155 h 6858000"/>
              <a:gd name="connsiteX1" fmla="*/ 6612980 w 12192000"/>
              <a:gd name="connsiteY1" fmla="*/ 6116155 h 6858000"/>
              <a:gd name="connsiteX2" fmla="*/ 6617061 w 12192000"/>
              <a:gd name="connsiteY2" fmla="*/ 6124493 h 6858000"/>
              <a:gd name="connsiteX3" fmla="*/ 6623183 w 12192000"/>
              <a:gd name="connsiteY3" fmla="*/ 6226637 h 6858000"/>
              <a:gd name="connsiteX4" fmla="*/ 6621142 w 12192000"/>
              <a:gd name="connsiteY4" fmla="*/ 6237059 h 6858000"/>
              <a:gd name="connsiteX5" fmla="*/ 6615021 w 12192000"/>
              <a:gd name="connsiteY5" fmla="*/ 6237059 h 6858000"/>
              <a:gd name="connsiteX6" fmla="*/ 6508908 w 12192000"/>
              <a:gd name="connsiteY6" fmla="*/ 6174523 h 6858000"/>
              <a:gd name="connsiteX7" fmla="*/ 6504827 w 12192000"/>
              <a:gd name="connsiteY7" fmla="*/ 6168270 h 6858000"/>
              <a:gd name="connsiteX8" fmla="*/ 6504827 w 12192000"/>
              <a:gd name="connsiteY8" fmla="*/ 6166184 h 6858000"/>
              <a:gd name="connsiteX9" fmla="*/ 6510948 w 12192000"/>
              <a:gd name="connsiteY9" fmla="*/ 6162015 h 6858000"/>
              <a:gd name="connsiteX10" fmla="*/ 6602777 w 12192000"/>
              <a:gd name="connsiteY10" fmla="*/ 6116155 h 6858000"/>
              <a:gd name="connsiteX11" fmla="*/ 6685511 w 12192000"/>
              <a:gd name="connsiteY11" fmla="*/ 6114071 h 6858000"/>
              <a:gd name="connsiteX12" fmla="*/ 6695813 w 12192000"/>
              <a:gd name="connsiteY12" fmla="*/ 6114071 h 6858000"/>
              <a:gd name="connsiteX13" fmla="*/ 6786472 w 12192000"/>
              <a:gd name="connsiteY13" fmla="*/ 6159837 h 6858000"/>
              <a:gd name="connsiteX14" fmla="*/ 6794714 w 12192000"/>
              <a:gd name="connsiteY14" fmla="*/ 6166078 h 6858000"/>
              <a:gd name="connsiteX15" fmla="*/ 6790593 w 12192000"/>
              <a:gd name="connsiteY15" fmla="*/ 6172318 h 6858000"/>
              <a:gd name="connsiteX16" fmla="*/ 6683451 w 12192000"/>
              <a:gd name="connsiteY16" fmla="*/ 6234726 h 6858000"/>
              <a:gd name="connsiteX17" fmla="*/ 6675208 w 12192000"/>
              <a:gd name="connsiteY17" fmla="*/ 6234726 h 6858000"/>
              <a:gd name="connsiteX18" fmla="*/ 6673148 w 12192000"/>
              <a:gd name="connsiteY18" fmla="*/ 6226405 h 6858000"/>
              <a:gd name="connsiteX19" fmla="*/ 6681390 w 12192000"/>
              <a:gd name="connsiteY19" fmla="*/ 6122392 h 6858000"/>
              <a:gd name="connsiteX20" fmla="*/ 6685511 w 12192000"/>
              <a:gd name="connsiteY20" fmla="*/ 6114071 h 6858000"/>
              <a:gd name="connsiteX21" fmla="*/ 5867776 w 12192000"/>
              <a:gd name="connsiteY21" fmla="*/ 6074328 h 6858000"/>
              <a:gd name="connsiteX22" fmla="*/ 5867776 w 12192000"/>
              <a:gd name="connsiteY22" fmla="*/ 6117531 h 6858000"/>
              <a:gd name="connsiteX23" fmla="*/ 5819888 w 12192000"/>
              <a:gd name="connsiteY23" fmla="*/ 6125760 h 6858000"/>
              <a:gd name="connsiteX24" fmla="*/ 5801149 w 12192000"/>
              <a:gd name="connsiteY24" fmla="*/ 6101073 h 6858000"/>
              <a:gd name="connsiteX25" fmla="*/ 5826134 w 12192000"/>
              <a:gd name="connsiteY25" fmla="*/ 6076386 h 6858000"/>
              <a:gd name="connsiteX26" fmla="*/ 5518276 w 12192000"/>
              <a:gd name="connsiteY26" fmla="*/ 6004194 h 6858000"/>
              <a:gd name="connsiteX27" fmla="*/ 5559186 w 12192000"/>
              <a:gd name="connsiteY27" fmla="*/ 6064393 h 6858000"/>
              <a:gd name="connsiteX28" fmla="*/ 5518276 w 12192000"/>
              <a:gd name="connsiteY28" fmla="*/ 6124591 h 6858000"/>
              <a:gd name="connsiteX29" fmla="*/ 5477363 w 12192000"/>
              <a:gd name="connsiteY29" fmla="*/ 6064393 h 6858000"/>
              <a:gd name="connsiteX30" fmla="*/ 5518276 w 12192000"/>
              <a:gd name="connsiteY30" fmla="*/ 6004194 h 6858000"/>
              <a:gd name="connsiteX31" fmla="*/ 6672498 w 12192000"/>
              <a:gd name="connsiteY31" fmla="*/ 5995882 h 6858000"/>
              <a:gd name="connsiteX32" fmla="*/ 6681491 w 12192000"/>
              <a:gd name="connsiteY32" fmla="*/ 5996921 h 6858000"/>
              <a:gd name="connsiteX33" fmla="*/ 6708215 w 12192000"/>
              <a:gd name="connsiteY33" fmla="*/ 6048872 h 6858000"/>
              <a:gd name="connsiteX34" fmla="*/ 6648601 w 12192000"/>
              <a:gd name="connsiteY34" fmla="*/ 6107057 h 6858000"/>
              <a:gd name="connsiteX35" fmla="*/ 6588987 w 12192000"/>
              <a:gd name="connsiteY35" fmla="*/ 6048872 h 6858000"/>
              <a:gd name="connsiteX36" fmla="*/ 6615711 w 12192000"/>
              <a:gd name="connsiteY36" fmla="*/ 5999000 h 6858000"/>
              <a:gd name="connsiteX37" fmla="*/ 6632156 w 12192000"/>
              <a:gd name="connsiteY37" fmla="*/ 6001077 h 6858000"/>
              <a:gd name="connsiteX38" fmla="*/ 6630100 w 12192000"/>
              <a:gd name="connsiteY38" fmla="*/ 6017702 h 6858000"/>
              <a:gd name="connsiteX39" fmla="*/ 6613655 w 12192000"/>
              <a:gd name="connsiteY39" fmla="*/ 6048872 h 6858000"/>
              <a:gd name="connsiteX40" fmla="*/ 6648601 w 12192000"/>
              <a:gd name="connsiteY40" fmla="*/ 6084199 h 6858000"/>
              <a:gd name="connsiteX41" fmla="*/ 6683547 w 12192000"/>
              <a:gd name="connsiteY41" fmla="*/ 6048872 h 6858000"/>
              <a:gd name="connsiteX42" fmla="*/ 6667102 w 12192000"/>
              <a:gd name="connsiteY42" fmla="*/ 6017702 h 6858000"/>
              <a:gd name="connsiteX43" fmla="*/ 6665047 w 12192000"/>
              <a:gd name="connsiteY43" fmla="*/ 6001077 h 6858000"/>
              <a:gd name="connsiteX44" fmla="*/ 6672498 w 12192000"/>
              <a:gd name="connsiteY44" fmla="*/ 5995882 h 6858000"/>
              <a:gd name="connsiteX45" fmla="*/ 6821432 w 12192000"/>
              <a:gd name="connsiteY45" fmla="*/ 5980816 h 6858000"/>
              <a:gd name="connsiteX46" fmla="*/ 6825565 w 12192000"/>
              <a:gd name="connsiteY46" fmla="*/ 5987045 h 6858000"/>
              <a:gd name="connsiteX47" fmla="*/ 6825565 w 12192000"/>
              <a:gd name="connsiteY47" fmla="*/ 6111612 h 6858000"/>
              <a:gd name="connsiteX48" fmla="*/ 6821432 w 12192000"/>
              <a:gd name="connsiteY48" fmla="*/ 6117840 h 6858000"/>
              <a:gd name="connsiteX49" fmla="*/ 6813166 w 12192000"/>
              <a:gd name="connsiteY49" fmla="*/ 6115764 h 6858000"/>
              <a:gd name="connsiteX50" fmla="*/ 6728441 w 12192000"/>
              <a:gd name="connsiteY50" fmla="*/ 6057632 h 6858000"/>
              <a:gd name="connsiteX51" fmla="*/ 6722242 w 12192000"/>
              <a:gd name="connsiteY51" fmla="*/ 6049328 h 6858000"/>
              <a:gd name="connsiteX52" fmla="*/ 6728441 w 12192000"/>
              <a:gd name="connsiteY52" fmla="*/ 6041024 h 6858000"/>
              <a:gd name="connsiteX53" fmla="*/ 6813166 w 12192000"/>
              <a:gd name="connsiteY53" fmla="*/ 5982893 h 6858000"/>
              <a:gd name="connsiteX54" fmla="*/ 6821432 w 12192000"/>
              <a:gd name="connsiteY54" fmla="*/ 5980816 h 6858000"/>
              <a:gd name="connsiteX55" fmla="*/ 6475604 w 12192000"/>
              <a:gd name="connsiteY55" fmla="*/ 5980816 h 6858000"/>
              <a:gd name="connsiteX56" fmla="*/ 6483787 w 12192000"/>
              <a:gd name="connsiteY56" fmla="*/ 5984968 h 6858000"/>
              <a:gd name="connsiteX57" fmla="*/ 6567656 w 12192000"/>
              <a:gd name="connsiteY57" fmla="*/ 6041024 h 6858000"/>
              <a:gd name="connsiteX58" fmla="*/ 6573792 w 12192000"/>
              <a:gd name="connsiteY58" fmla="*/ 6049328 h 6858000"/>
              <a:gd name="connsiteX59" fmla="*/ 6567656 w 12192000"/>
              <a:gd name="connsiteY59" fmla="*/ 6057632 h 6858000"/>
              <a:gd name="connsiteX60" fmla="*/ 6483787 w 12192000"/>
              <a:gd name="connsiteY60" fmla="*/ 6115764 h 6858000"/>
              <a:gd name="connsiteX61" fmla="*/ 6475604 w 12192000"/>
              <a:gd name="connsiteY61" fmla="*/ 6117840 h 6858000"/>
              <a:gd name="connsiteX62" fmla="*/ 6471513 w 12192000"/>
              <a:gd name="connsiteY62" fmla="*/ 6111612 h 6858000"/>
              <a:gd name="connsiteX63" fmla="*/ 6471513 w 12192000"/>
              <a:gd name="connsiteY63" fmla="*/ 5987045 h 6858000"/>
              <a:gd name="connsiteX64" fmla="*/ 6475604 w 12192000"/>
              <a:gd name="connsiteY64" fmla="*/ 5980816 h 6858000"/>
              <a:gd name="connsiteX65" fmla="*/ 6087559 w 12192000"/>
              <a:gd name="connsiteY65" fmla="*/ 5970296 h 6858000"/>
              <a:gd name="connsiteX66" fmla="*/ 6081400 w 12192000"/>
              <a:gd name="connsiteY66" fmla="*/ 5972374 h 6858000"/>
              <a:gd name="connsiteX67" fmla="*/ 6079347 w 12192000"/>
              <a:gd name="connsiteY67" fmla="*/ 5978604 h 6858000"/>
              <a:gd name="connsiteX68" fmla="*/ 6120408 w 12192000"/>
              <a:gd name="connsiteY68" fmla="*/ 6136455 h 6858000"/>
              <a:gd name="connsiteX69" fmla="*/ 6145045 w 12192000"/>
              <a:gd name="connsiteY69" fmla="*/ 6157224 h 6858000"/>
              <a:gd name="connsiteX70" fmla="*/ 6153257 w 12192000"/>
              <a:gd name="connsiteY70" fmla="*/ 6157224 h 6858000"/>
              <a:gd name="connsiteX71" fmla="*/ 6149151 w 12192000"/>
              <a:gd name="connsiteY71" fmla="*/ 6165532 h 6858000"/>
              <a:gd name="connsiteX72" fmla="*/ 6149151 w 12192000"/>
              <a:gd name="connsiteY72" fmla="*/ 6167609 h 6858000"/>
              <a:gd name="connsiteX73" fmla="*/ 6124515 w 12192000"/>
              <a:gd name="connsiteY73" fmla="*/ 6186302 h 6858000"/>
              <a:gd name="connsiteX74" fmla="*/ 6089612 w 12192000"/>
              <a:gd name="connsiteY74" fmla="*/ 6184225 h 6858000"/>
              <a:gd name="connsiteX75" fmla="*/ 6083453 w 12192000"/>
              <a:gd name="connsiteY75" fmla="*/ 6186302 h 6858000"/>
              <a:gd name="connsiteX76" fmla="*/ 6081400 w 12192000"/>
              <a:gd name="connsiteY76" fmla="*/ 6190456 h 6858000"/>
              <a:gd name="connsiteX77" fmla="*/ 6081400 w 12192000"/>
              <a:gd name="connsiteY77" fmla="*/ 6209149 h 6858000"/>
              <a:gd name="connsiteX78" fmla="*/ 6087559 w 12192000"/>
              <a:gd name="connsiteY78" fmla="*/ 6215380 h 6858000"/>
              <a:gd name="connsiteX79" fmla="*/ 6134780 w 12192000"/>
              <a:gd name="connsiteY79" fmla="*/ 6221610 h 6858000"/>
              <a:gd name="connsiteX80" fmla="*/ 6136833 w 12192000"/>
              <a:gd name="connsiteY80" fmla="*/ 6221610 h 6858000"/>
              <a:gd name="connsiteX81" fmla="*/ 6190213 w 12192000"/>
              <a:gd name="connsiteY81" fmla="*/ 6169686 h 6858000"/>
              <a:gd name="connsiteX82" fmla="*/ 6223062 w 12192000"/>
              <a:gd name="connsiteY82" fmla="*/ 6040914 h 6858000"/>
              <a:gd name="connsiteX83" fmla="*/ 6235380 w 12192000"/>
              <a:gd name="connsiteY83" fmla="*/ 5999374 h 6858000"/>
              <a:gd name="connsiteX84" fmla="*/ 6239487 w 12192000"/>
              <a:gd name="connsiteY84" fmla="*/ 5978604 h 6858000"/>
              <a:gd name="connsiteX85" fmla="*/ 6237434 w 12192000"/>
              <a:gd name="connsiteY85" fmla="*/ 5972374 h 6858000"/>
              <a:gd name="connsiteX86" fmla="*/ 6233327 w 12192000"/>
              <a:gd name="connsiteY86" fmla="*/ 5970296 h 6858000"/>
              <a:gd name="connsiteX87" fmla="*/ 6204584 w 12192000"/>
              <a:gd name="connsiteY87" fmla="*/ 5970296 h 6858000"/>
              <a:gd name="connsiteX88" fmla="*/ 6198425 w 12192000"/>
              <a:gd name="connsiteY88" fmla="*/ 5974451 h 6858000"/>
              <a:gd name="connsiteX89" fmla="*/ 6161469 w 12192000"/>
              <a:gd name="connsiteY89" fmla="*/ 6115685 h 6858000"/>
              <a:gd name="connsiteX90" fmla="*/ 6159417 w 12192000"/>
              <a:gd name="connsiteY90" fmla="*/ 6115685 h 6858000"/>
              <a:gd name="connsiteX91" fmla="*/ 6120408 w 12192000"/>
              <a:gd name="connsiteY91" fmla="*/ 5974451 h 6858000"/>
              <a:gd name="connsiteX92" fmla="*/ 6114249 w 12192000"/>
              <a:gd name="connsiteY92" fmla="*/ 5970296 h 6858000"/>
              <a:gd name="connsiteX93" fmla="*/ 6087559 w 12192000"/>
              <a:gd name="connsiteY93" fmla="*/ 5970296 h 6858000"/>
              <a:gd name="connsiteX94" fmla="*/ 6047787 w 12192000"/>
              <a:gd name="connsiteY94" fmla="*/ 5967959 h 6858000"/>
              <a:gd name="connsiteX95" fmla="*/ 5998692 w 12192000"/>
              <a:gd name="connsiteY95" fmla="*/ 5988768 h 6858000"/>
              <a:gd name="connsiteX96" fmla="*/ 5998692 w 12192000"/>
              <a:gd name="connsiteY96" fmla="*/ 5976283 h 6858000"/>
              <a:gd name="connsiteX97" fmla="*/ 5992556 w 12192000"/>
              <a:gd name="connsiteY97" fmla="*/ 5970040 h 6858000"/>
              <a:gd name="connsiteX98" fmla="*/ 5963918 w 12192000"/>
              <a:gd name="connsiteY98" fmla="*/ 5970040 h 6858000"/>
              <a:gd name="connsiteX99" fmla="*/ 5957781 w 12192000"/>
              <a:gd name="connsiteY99" fmla="*/ 5976283 h 6858000"/>
              <a:gd name="connsiteX100" fmla="*/ 5957781 w 12192000"/>
              <a:gd name="connsiteY100" fmla="*/ 6151078 h 6858000"/>
              <a:gd name="connsiteX101" fmla="*/ 5963918 w 12192000"/>
              <a:gd name="connsiteY101" fmla="*/ 6157321 h 6858000"/>
              <a:gd name="connsiteX102" fmla="*/ 5992556 w 12192000"/>
              <a:gd name="connsiteY102" fmla="*/ 6157321 h 6858000"/>
              <a:gd name="connsiteX103" fmla="*/ 5998692 w 12192000"/>
              <a:gd name="connsiteY103" fmla="*/ 6151078 h 6858000"/>
              <a:gd name="connsiteX104" fmla="*/ 5998692 w 12192000"/>
              <a:gd name="connsiteY104" fmla="*/ 6030386 h 6858000"/>
              <a:gd name="connsiteX105" fmla="*/ 6049832 w 12192000"/>
              <a:gd name="connsiteY105" fmla="*/ 6007496 h 6858000"/>
              <a:gd name="connsiteX106" fmla="*/ 6055969 w 12192000"/>
              <a:gd name="connsiteY106" fmla="*/ 6001253 h 6858000"/>
              <a:gd name="connsiteX107" fmla="*/ 6055969 w 12192000"/>
              <a:gd name="connsiteY107" fmla="*/ 5974202 h 6858000"/>
              <a:gd name="connsiteX108" fmla="*/ 6053923 w 12192000"/>
              <a:gd name="connsiteY108" fmla="*/ 5970040 h 6858000"/>
              <a:gd name="connsiteX109" fmla="*/ 6047787 w 12192000"/>
              <a:gd name="connsiteY109" fmla="*/ 5967959 h 6858000"/>
              <a:gd name="connsiteX110" fmla="*/ 5846879 w 12192000"/>
              <a:gd name="connsiteY110" fmla="*/ 5964452 h 6858000"/>
              <a:gd name="connsiteX111" fmla="*/ 5776523 w 12192000"/>
              <a:gd name="connsiteY111" fmla="*/ 5972770 h 6858000"/>
              <a:gd name="connsiteX112" fmla="*/ 5770315 w 12192000"/>
              <a:gd name="connsiteY112" fmla="*/ 5979008 h 6858000"/>
              <a:gd name="connsiteX113" fmla="*/ 5772384 w 12192000"/>
              <a:gd name="connsiteY113" fmla="*/ 6003961 h 6858000"/>
              <a:gd name="connsiteX114" fmla="*/ 5774454 w 12192000"/>
              <a:gd name="connsiteY114" fmla="*/ 6008120 h 6858000"/>
              <a:gd name="connsiteX115" fmla="*/ 5778592 w 12192000"/>
              <a:gd name="connsiteY115" fmla="*/ 6010199 h 6858000"/>
              <a:gd name="connsiteX116" fmla="*/ 5844809 w 12192000"/>
              <a:gd name="connsiteY116" fmla="*/ 6006040 h 6858000"/>
              <a:gd name="connsiteX117" fmla="*/ 5867571 w 12192000"/>
              <a:gd name="connsiteY117" fmla="*/ 6028914 h 6858000"/>
              <a:gd name="connsiteX118" fmla="*/ 5867571 w 12192000"/>
              <a:gd name="connsiteY118" fmla="*/ 6041390 h 6858000"/>
              <a:gd name="connsiteX119" fmla="*/ 5822047 w 12192000"/>
              <a:gd name="connsiteY119" fmla="*/ 6045549 h 6858000"/>
              <a:gd name="connsiteX120" fmla="*/ 5757900 w 12192000"/>
              <a:gd name="connsiteY120" fmla="*/ 6101693 h 6858000"/>
              <a:gd name="connsiteX121" fmla="*/ 5813770 w 12192000"/>
              <a:gd name="connsiteY121" fmla="*/ 6161996 h 6858000"/>
              <a:gd name="connsiteX122" fmla="*/ 5873779 w 12192000"/>
              <a:gd name="connsiteY122" fmla="*/ 6149520 h 6858000"/>
              <a:gd name="connsiteX123" fmla="*/ 5902750 w 12192000"/>
              <a:gd name="connsiteY123" fmla="*/ 6161996 h 6858000"/>
              <a:gd name="connsiteX124" fmla="*/ 5908957 w 12192000"/>
              <a:gd name="connsiteY124" fmla="*/ 6159917 h 6858000"/>
              <a:gd name="connsiteX125" fmla="*/ 5911026 w 12192000"/>
              <a:gd name="connsiteY125" fmla="*/ 6153679 h 6858000"/>
              <a:gd name="connsiteX126" fmla="*/ 5911026 w 12192000"/>
              <a:gd name="connsiteY126" fmla="*/ 6028914 h 6858000"/>
              <a:gd name="connsiteX127" fmla="*/ 5846879 w 12192000"/>
              <a:gd name="connsiteY127" fmla="*/ 5964452 h 6858000"/>
              <a:gd name="connsiteX128" fmla="*/ 5518274 w 12192000"/>
              <a:gd name="connsiteY128" fmla="*/ 5964452 h 6858000"/>
              <a:gd name="connsiteX129" fmla="*/ 5434114 w 12192000"/>
              <a:gd name="connsiteY129" fmla="*/ 6063224 h 6858000"/>
              <a:gd name="connsiteX130" fmla="*/ 5518274 w 12192000"/>
              <a:gd name="connsiteY130" fmla="*/ 6161996 h 6858000"/>
              <a:gd name="connsiteX131" fmla="*/ 5602435 w 12192000"/>
              <a:gd name="connsiteY131" fmla="*/ 6063224 h 6858000"/>
              <a:gd name="connsiteX132" fmla="*/ 5518274 w 12192000"/>
              <a:gd name="connsiteY132" fmla="*/ 5964452 h 6858000"/>
              <a:gd name="connsiteX133" fmla="*/ 5302320 w 12192000"/>
              <a:gd name="connsiteY133" fmla="*/ 5938736 h 6858000"/>
              <a:gd name="connsiteX134" fmla="*/ 5318685 w 12192000"/>
              <a:gd name="connsiteY134" fmla="*/ 5938736 h 6858000"/>
              <a:gd name="connsiteX135" fmla="*/ 5361642 w 12192000"/>
              <a:gd name="connsiteY135" fmla="*/ 5978478 h 6858000"/>
              <a:gd name="connsiteX136" fmla="*/ 5316640 w 12192000"/>
              <a:gd name="connsiteY136" fmla="*/ 6016129 h 6858000"/>
              <a:gd name="connsiteX137" fmla="*/ 5271637 w 12192000"/>
              <a:gd name="connsiteY137" fmla="*/ 6016129 h 6858000"/>
              <a:gd name="connsiteX138" fmla="*/ 5271637 w 12192000"/>
              <a:gd name="connsiteY138" fmla="*/ 5940828 h 6858000"/>
              <a:gd name="connsiteX139" fmla="*/ 5302320 w 12192000"/>
              <a:gd name="connsiteY139" fmla="*/ 5938736 h 6858000"/>
              <a:gd name="connsiteX140" fmla="*/ 5678557 w 12192000"/>
              <a:gd name="connsiteY140" fmla="*/ 5927047 h 6858000"/>
              <a:gd name="connsiteX141" fmla="*/ 5649847 w 12192000"/>
              <a:gd name="connsiteY141" fmla="*/ 5933291 h 6858000"/>
              <a:gd name="connsiteX142" fmla="*/ 5643695 w 12192000"/>
              <a:gd name="connsiteY142" fmla="*/ 5939535 h 6858000"/>
              <a:gd name="connsiteX143" fmla="*/ 5643695 w 12192000"/>
              <a:gd name="connsiteY143" fmla="*/ 5970757 h 6858000"/>
              <a:gd name="connsiteX144" fmla="*/ 5627290 w 12192000"/>
              <a:gd name="connsiteY144" fmla="*/ 5970757 h 6858000"/>
              <a:gd name="connsiteX145" fmla="*/ 5621138 w 12192000"/>
              <a:gd name="connsiteY145" fmla="*/ 5977002 h 6858000"/>
              <a:gd name="connsiteX146" fmla="*/ 5621138 w 12192000"/>
              <a:gd name="connsiteY146" fmla="*/ 6001980 h 6858000"/>
              <a:gd name="connsiteX147" fmla="*/ 5627290 w 12192000"/>
              <a:gd name="connsiteY147" fmla="*/ 6008224 h 6858000"/>
              <a:gd name="connsiteX148" fmla="*/ 5643695 w 12192000"/>
              <a:gd name="connsiteY148" fmla="*/ 6008224 h 6858000"/>
              <a:gd name="connsiteX149" fmla="*/ 5643695 w 12192000"/>
              <a:gd name="connsiteY149" fmla="*/ 6091483 h 6858000"/>
              <a:gd name="connsiteX150" fmla="*/ 5699064 w 12192000"/>
              <a:gd name="connsiteY150" fmla="*/ 6164334 h 6858000"/>
              <a:gd name="connsiteX151" fmla="*/ 5731875 w 12192000"/>
              <a:gd name="connsiteY151" fmla="*/ 6160171 h 6858000"/>
              <a:gd name="connsiteX152" fmla="*/ 5738028 w 12192000"/>
              <a:gd name="connsiteY152" fmla="*/ 6151845 h 6858000"/>
              <a:gd name="connsiteX153" fmla="*/ 5735977 w 12192000"/>
              <a:gd name="connsiteY153" fmla="*/ 6128949 h 6858000"/>
              <a:gd name="connsiteX154" fmla="*/ 5729824 w 12192000"/>
              <a:gd name="connsiteY154" fmla="*/ 6120623 h 6858000"/>
              <a:gd name="connsiteX155" fmla="*/ 5705217 w 12192000"/>
              <a:gd name="connsiteY155" fmla="*/ 6122705 h 6858000"/>
              <a:gd name="connsiteX156" fmla="*/ 5686761 w 12192000"/>
              <a:gd name="connsiteY156" fmla="*/ 6085238 h 6858000"/>
              <a:gd name="connsiteX157" fmla="*/ 5686761 w 12192000"/>
              <a:gd name="connsiteY157" fmla="*/ 6008224 h 6858000"/>
              <a:gd name="connsiteX158" fmla="*/ 5729824 w 12192000"/>
              <a:gd name="connsiteY158" fmla="*/ 6008224 h 6858000"/>
              <a:gd name="connsiteX159" fmla="*/ 5735977 w 12192000"/>
              <a:gd name="connsiteY159" fmla="*/ 6001980 h 6858000"/>
              <a:gd name="connsiteX160" fmla="*/ 5735977 w 12192000"/>
              <a:gd name="connsiteY160" fmla="*/ 5977002 h 6858000"/>
              <a:gd name="connsiteX161" fmla="*/ 5729824 w 12192000"/>
              <a:gd name="connsiteY161" fmla="*/ 5970757 h 6858000"/>
              <a:gd name="connsiteX162" fmla="*/ 5686761 w 12192000"/>
              <a:gd name="connsiteY162" fmla="*/ 5970757 h 6858000"/>
              <a:gd name="connsiteX163" fmla="*/ 5686761 w 12192000"/>
              <a:gd name="connsiteY163" fmla="*/ 5933291 h 6858000"/>
              <a:gd name="connsiteX164" fmla="*/ 5684709 w 12192000"/>
              <a:gd name="connsiteY164" fmla="*/ 5927047 h 6858000"/>
              <a:gd name="connsiteX165" fmla="*/ 5678557 w 12192000"/>
              <a:gd name="connsiteY165" fmla="*/ 5927047 h 6858000"/>
              <a:gd name="connsiteX166" fmla="*/ 5312653 w 12192000"/>
              <a:gd name="connsiteY166" fmla="*/ 5897825 h 6858000"/>
              <a:gd name="connsiteX167" fmla="*/ 5232236 w 12192000"/>
              <a:gd name="connsiteY167" fmla="*/ 5901977 h 6858000"/>
              <a:gd name="connsiteX168" fmla="*/ 5226049 w 12192000"/>
              <a:gd name="connsiteY168" fmla="*/ 5910281 h 6858000"/>
              <a:gd name="connsiteX169" fmla="*/ 5226049 w 12192000"/>
              <a:gd name="connsiteY169" fmla="*/ 6151093 h 6858000"/>
              <a:gd name="connsiteX170" fmla="*/ 5234297 w 12192000"/>
              <a:gd name="connsiteY170" fmla="*/ 6157321 h 6858000"/>
              <a:gd name="connsiteX171" fmla="*/ 5263165 w 12192000"/>
              <a:gd name="connsiteY171" fmla="*/ 6157321 h 6858000"/>
              <a:gd name="connsiteX172" fmla="*/ 5271414 w 12192000"/>
              <a:gd name="connsiteY172" fmla="*/ 6151093 h 6858000"/>
              <a:gd name="connsiteX173" fmla="*/ 5271414 w 12192000"/>
              <a:gd name="connsiteY173" fmla="*/ 6055599 h 6858000"/>
              <a:gd name="connsiteX174" fmla="*/ 5320901 w 12192000"/>
              <a:gd name="connsiteY174" fmla="*/ 6057674 h 6858000"/>
              <a:gd name="connsiteX175" fmla="*/ 5362142 w 12192000"/>
              <a:gd name="connsiteY175" fmla="*/ 6153168 h 6858000"/>
              <a:gd name="connsiteX176" fmla="*/ 5368327 w 12192000"/>
              <a:gd name="connsiteY176" fmla="*/ 6157321 h 6858000"/>
              <a:gd name="connsiteX177" fmla="*/ 5401320 w 12192000"/>
              <a:gd name="connsiteY177" fmla="*/ 6157321 h 6858000"/>
              <a:gd name="connsiteX178" fmla="*/ 5407505 w 12192000"/>
              <a:gd name="connsiteY178" fmla="*/ 6155245 h 6858000"/>
              <a:gd name="connsiteX179" fmla="*/ 5409567 w 12192000"/>
              <a:gd name="connsiteY179" fmla="*/ 6149017 h 6858000"/>
              <a:gd name="connsiteX180" fmla="*/ 5362142 w 12192000"/>
              <a:gd name="connsiteY180" fmla="*/ 6045219 h 6858000"/>
              <a:gd name="connsiteX181" fmla="*/ 5407505 w 12192000"/>
              <a:gd name="connsiteY181" fmla="*/ 5976711 h 6858000"/>
              <a:gd name="connsiteX182" fmla="*/ 5318839 w 12192000"/>
              <a:gd name="connsiteY182" fmla="*/ 5897825 h 6858000"/>
              <a:gd name="connsiteX183" fmla="*/ 5312653 w 12192000"/>
              <a:gd name="connsiteY183" fmla="*/ 5897825 h 6858000"/>
              <a:gd name="connsiteX184" fmla="*/ 6675208 w 12192000"/>
              <a:gd name="connsiteY184" fmla="*/ 5864819 h 6858000"/>
              <a:gd name="connsiteX185" fmla="*/ 6683451 w 12192000"/>
              <a:gd name="connsiteY185" fmla="*/ 5864819 h 6858000"/>
              <a:gd name="connsiteX186" fmla="*/ 6790593 w 12192000"/>
              <a:gd name="connsiteY186" fmla="*/ 5926632 h 6858000"/>
              <a:gd name="connsiteX187" fmla="*/ 6794714 w 12192000"/>
              <a:gd name="connsiteY187" fmla="*/ 5932813 h 6858000"/>
              <a:gd name="connsiteX188" fmla="*/ 6786472 w 12192000"/>
              <a:gd name="connsiteY188" fmla="*/ 5938994 h 6858000"/>
              <a:gd name="connsiteX189" fmla="*/ 6695813 w 12192000"/>
              <a:gd name="connsiteY189" fmla="*/ 5982263 h 6858000"/>
              <a:gd name="connsiteX190" fmla="*/ 6685511 w 12192000"/>
              <a:gd name="connsiteY190" fmla="*/ 5984323 h 6858000"/>
              <a:gd name="connsiteX191" fmla="*/ 6681390 w 12192000"/>
              <a:gd name="connsiteY191" fmla="*/ 5974021 h 6858000"/>
              <a:gd name="connsiteX192" fmla="*/ 6673148 w 12192000"/>
              <a:gd name="connsiteY192" fmla="*/ 5873060 h 6858000"/>
              <a:gd name="connsiteX193" fmla="*/ 6675208 w 12192000"/>
              <a:gd name="connsiteY193" fmla="*/ 5864819 h 6858000"/>
              <a:gd name="connsiteX194" fmla="*/ 6617873 w 12192000"/>
              <a:gd name="connsiteY194" fmla="*/ 5864048 h 6858000"/>
              <a:gd name="connsiteX195" fmla="*/ 6621994 w 12192000"/>
              <a:gd name="connsiteY195" fmla="*/ 5864823 h 6858000"/>
              <a:gd name="connsiteX196" fmla="*/ 6624054 w 12192000"/>
              <a:gd name="connsiteY196" fmla="*/ 5875148 h 6858000"/>
              <a:gd name="connsiteX197" fmla="*/ 6615813 w 12192000"/>
              <a:gd name="connsiteY197" fmla="*/ 5976336 h 6858000"/>
              <a:gd name="connsiteX198" fmla="*/ 6611692 w 12192000"/>
              <a:gd name="connsiteY198" fmla="*/ 5984596 h 6858000"/>
              <a:gd name="connsiteX199" fmla="*/ 6601390 w 12192000"/>
              <a:gd name="connsiteY199" fmla="*/ 5984596 h 6858000"/>
              <a:gd name="connsiteX200" fmla="*/ 6510730 w 12192000"/>
              <a:gd name="connsiteY200" fmla="*/ 5939165 h 6858000"/>
              <a:gd name="connsiteX201" fmla="*/ 6502489 w 12192000"/>
              <a:gd name="connsiteY201" fmla="*/ 5932970 h 6858000"/>
              <a:gd name="connsiteX202" fmla="*/ 6506610 w 12192000"/>
              <a:gd name="connsiteY202" fmla="*/ 5926774 h 6858000"/>
              <a:gd name="connsiteX203" fmla="*/ 6613752 w 12192000"/>
              <a:gd name="connsiteY203" fmla="*/ 5864823 h 6858000"/>
              <a:gd name="connsiteX204" fmla="*/ 6617873 w 12192000"/>
              <a:gd name="connsiteY204" fmla="*/ 5864048 h 6858000"/>
              <a:gd name="connsiteX205" fmla="*/ 6649186 w 12192000"/>
              <a:gd name="connsiteY205" fmla="*/ 5828859 h 6858000"/>
              <a:gd name="connsiteX206" fmla="*/ 6432355 w 12192000"/>
              <a:gd name="connsiteY206" fmla="*/ 6048029 h 6858000"/>
              <a:gd name="connsiteX207" fmla="*/ 6649186 w 12192000"/>
              <a:gd name="connsiteY207" fmla="*/ 6267198 h 6858000"/>
              <a:gd name="connsiteX208" fmla="*/ 6866018 w 12192000"/>
              <a:gd name="connsiteY208" fmla="*/ 6048029 h 6858000"/>
              <a:gd name="connsiteX209" fmla="*/ 6649186 w 12192000"/>
              <a:gd name="connsiteY209" fmla="*/ 5828859 h 6858000"/>
              <a:gd name="connsiteX210" fmla="*/ 6648602 w 12192000"/>
              <a:gd name="connsiteY210" fmla="*/ 5797300 h 6858000"/>
              <a:gd name="connsiteX211" fmla="*/ 6895240 w 12192000"/>
              <a:gd name="connsiteY211" fmla="*/ 6046861 h 6858000"/>
              <a:gd name="connsiteX212" fmla="*/ 6648602 w 12192000"/>
              <a:gd name="connsiteY212" fmla="*/ 6296422 h 6858000"/>
              <a:gd name="connsiteX213" fmla="*/ 6401963 w 12192000"/>
              <a:gd name="connsiteY213" fmla="*/ 6046861 h 6858000"/>
              <a:gd name="connsiteX214" fmla="*/ 6648602 w 12192000"/>
              <a:gd name="connsiteY214" fmla="*/ 5797300 h 6858000"/>
              <a:gd name="connsiteX215" fmla="*/ 6635678 w 12192000"/>
              <a:gd name="connsiteY215" fmla="*/ 5718724 h 6858000"/>
              <a:gd name="connsiteX216" fmla="*/ 6623339 w 12192000"/>
              <a:gd name="connsiteY216" fmla="*/ 5768607 h 6858000"/>
              <a:gd name="connsiteX217" fmla="*/ 6600717 w 12192000"/>
              <a:gd name="connsiteY217" fmla="*/ 5772764 h 6858000"/>
              <a:gd name="connsiteX218" fmla="*/ 6573982 w 12192000"/>
              <a:gd name="connsiteY218" fmla="*/ 5727038 h 6858000"/>
              <a:gd name="connsiteX219" fmla="*/ 6573982 w 12192000"/>
              <a:gd name="connsiteY219" fmla="*/ 5724959 h 6858000"/>
              <a:gd name="connsiteX220" fmla="*/ 6571926 w 12192000"/>
              <a:gd name="connsiteY220" fmla="*/ 5727038 h 6858000"/>
              <a:gd name="connsiteX221" fmla="*/ 6551360 w 12192000"/>
              <a:gd name="connsiteY221" fmla="*/ 5731195 h 6858000"/>
              <a:gd name="connsiteX222" fmla="*/ 6551360 w 12192000"/>
              <a:gd name="connsiteY222" fmla="*/ 5733273 h 6858000"/>
              <a:gd name="connsiteX223" fmla="*/ 6547247 w 12192000"/>
              <a:gd name="connsiteY223" fmla="*/ 5758215 h 6858000"/>
              <a:gd name="connsiteX224" fmla="*/ 6551360 w 12192000"/>
              <a:gd name="connsiteY224" fmla="*/ 5785235 h 6858000"/>
              <a:gd name="connsiteX225" fmla="*/ 6530795 w 12192000"/>
              <a:gd name="connsiteY225" fmla="*/ 5793548 h 6858000"/>
              <a:gd name="connsiteX226" fmla="*/ 6493777 w 12192000"/>
              <a:gd name="connsiteY226" fmla="*/ 5758215 h 6858000"/>
              <a:gd name="connsiteX227" fmla="*/ 6493777 w 12192000"/>
              <a:gd name="connsiteY227" fmla="*/ 5756136 h 6858000"/>
              <a:gd name="connsiteX228" fmla="*/ 6491721 w 12192000"/>
              <a:gd name="connsiteY228" fmla="*/ 5756136 h 6858000"/>
              <a:gd name="connsiteX229" fmla="*/ 6473212 w 12192000"/>
              <a:gd name="connsiteY229" fmla="*/ 5768607 h 6858000"/>
              <a:gd name="connsiteX230" fmla="*/ 6473212 w 12192000"/>
              <a:gd name="connsiteY230" fmla="*/ 5770685 h 6858000"/>
              <a:gd name="connsiteX231" fmla="*/ 6485551 w 12192000"/>
              <a:gd name="connsiteY231" fmla="*/ 5820568 h 6858000"/>
              <a:gd name="connsiteX232" fmla="*/ 6469099 w 12192000"/>
              <a:gd name="connsiteY232" fmla="*/ 5833039 h 6858000"/>
              <a:gd name="connsiteX233" fmla="*/ 6425911 w 12192000"/>
              <a:gd name="connsiteY233" fmla="*/ 5806019 h 6858000"/>
              <a:gd name="connsiteX234" fmla="*/ 6423855 w 12192000"/>
              <a:gd name="connsiteY234" fmla="*/ 5806019 h 6858000"/>
              <a:gd name="connsiteX235" fmla="*/ 6423855 w 12192000"/>
              <a:gd name="connsiteY235" fmla="*/ 5808097 h 6858000"/>
              <a:gd name="connsiteX236" fmla="*/ 6407402 w 12192000"/>
              <a:gd name="connsiteY236" fmla="*/ 5822647 h 6858000"/>
              <a:gd name="connsiteX237" fmla="*/ 6407402 w 12192000"/>
              <a:gd name="connsiteY237" fmla="*/ 5824725 h 6858000"/>
              <a:gd name="connsiteX238" fmla="*/ 6434138 w 12192000"/>
              <a:gd name="connsiteY238" fmla="*/ 5870451 h 6858000"/>
              <a:gd name="connsiteX239" fmla="*/ 6419742 w 12192000"/>
              <a:gd name="connsiteY239" fmla="*/ 5887079 h 6858000"/>
              <a:gd name="connsiteX240" fmla="*/ 6370385 w 12192000"/>
              <a:gd name="connsiteY240" fmla="*/ 5874608 h 6858000"/>
              <a:gd name="connsiteX241" fmla="*/ 6368328 w 12192000"/>
              <a:gd name="connsiteY241" fmla="*/ 5874608 h 6858000"/>
              <a:gd name="connsiteX242" fmla="*/ 6358046 w 12192000"/>
              <a:gd name="connsiteY242" fmla="*/ 5893314 h 6858000"/>
              <a:gd name="connsiteX243" fmla="*/ 6358046 w 12192000"/>
              <a:gd name="connsiteY243" fmla="*/ 5895393 h 6858000"/>
              <a:gd name="connsiteX244" fmla="*/ 6395063 w 12192000"/>
              <a:gd name="connsiteY244" fmla="*/ 5932805 h 6858000"/>
              <a:gd name="connsiteX245" fmla="*/ 6386837 w 12192000"/>
              <a:gd name="connsiteY245" fmla="*/ 5951511 h 6858000"/>
              <a:gd name="connsiteX246" fmla="*/ 6335424 w 12192000"/>
              <a:gd name="connsiteY246" fmla="*/ 5951511 h 6858000"/>
              <a:gd name="connsiteX247" fmla="*/ 6333367 w 12192000"/>
              <a:gd name="connsiteY247" fmla="*/ 5951511 h 6858000"/>
              <a:gd name="connsiteX248" fmla="*/ 6333367 w 12192000"/>
              <a:gd name="connsiteY248" fmla="*/ 5953589 h 6858000"/>
              <a:gd name="connsiteX249" fmla="*/ 6327198 w 12192000"/>
              <a:gd name="connsiteY249" fmla="*/ 5974373 h 6858000"/>
              <a:gd name="connsiteX250" fmla="*/ 6329254 w 12192000"/>
              <a:gd name="connsiteY250" fmla="*/ 5976452 h 6858000"/>
              <a:gd name="connsiteX251" fmla="*/ 6372441 w 12192000"/>
              <a:gd name="connsiteY251" fmla="*/ 6001393 h 6858000"/>
              <a:gd name="connsiteX252" fmla="*/ 6370385 w 12192000"/>
              <a:gd name="connsiteY252" fmla="*/ 6024257 h 6858000"/>
              <a:gd name="connsiteX253" fmla="*/ 6321028 w 12192000"/>
              <a:gd name="connsiteY253" fmla="*/ 6036728 h 6858000"/>
              <a:gd name="connsiteX254" fmla="*/ 6318972 w 12192000"/>
              <a:gd name="connsiteY254" fmla="*/ 6036728 h 6858000"/>
              <a:gd name="connsiteX255" fmla="*/ 6318972 w 12192000"/>
              <a:gd name="connsiteY255" fmla="*/ 6038805 h 6858000"/>
              <a:gd name="connsiteX256" fmla="*/ 6318972 w 12192000"/>
              <a:gd name="connsiteY256" fmla="*/ 6049198 h 6858000"/>
              <a:gd name="connsiteX257" fmla="*/ 6318972 w 12192000"/>
              <a:gd name="connsiteY257" fmla="*/ 6059590 h 6858000"/>
              <a:gd name="connsiteX258" fmla="*/ 6318972 w 12192000"/>
              <a:gd name="connsiteY258" fmla="*/ 6061669 h 6858000"/>
              <a:gd name="connsiteX259" fmla="*/ 6321028 w 12192000"/>
              <a:gd name="connsiteY259" fmla="*/ 6061669 h 6858000"/>
              <a:gd name="connsiteX260" fmla="*/ 6370385 w 12192000"/>
              <a:gd name="connsiteY260" fmla="*/ 6074140 h 6858000"/>
              <a:gd name="connsiteX261" fmla="*/ 6374498 w 12192000"/>
              <a:gd name="connsiteY261" fmla="*/ 6097002 h 6858000"/>
              <a:gd name="connsiteX262" fmla="*/ 6329254 w 12192000"/>
              <a:gd name="connsiteY262" fmla="*/ 6124022 h 6858000"/>
              <a:gd name="connsiteX263" fmla="*/ 6327198 w 12192000"/>
              <a:gd name="connsiteY263" fmla="*/ 6124022 h 6858000"/>
              <a:gd name="connsiteX264" fmla="*/ 6327198 w 12192000"/>
              <a:gd name="connsiteY264" fmla="*/ 6126101 h 6858000"/>
              <a:gd name="connsiteX265" fmla="*/ 6333367 w 12192000"/>
              <a:gd name="connsiteY265" fmla="*/ 6146886 h 6858000"/>
              <a:gd name="connsiteX266" fmla="*/ 6335424 w 12192000"/>
              <a:gd name="connsiteY266" fmla="*/ 6146886 h 6858000"/>
              <a:gd name="connsiteX267" fmla="*/ 6386837 w 12192000"/>
              <a:gd name="connsiteY267" fmla="*/ 6146886 h 6858000"/>
              <a:gd name="connsiteX268" fmla="*/ 6395063 w 12192000"/>
              <a:gd name="connsiteY268" fmla="*/ 6167669 h 6858000"/>
              <a:gd name="connsiteX269" fmla="*/ 6358046 w 12192000"/>
              <a:gd name="connsiteY269" fmla="*/ 6205082 h 6858000"/>
              <a:gd name="connsiteX270" fmla="*/ 6358046 w 12192000"/>
              <a:gd name="connsiteY270" fmla="*/ 6207160 h 6858000"/>
              <a:gd name="connsiteX271" fmla="*/ 6370385 w 12192000"/>
              <a:gd name="connsiteY271" fmla="*/ 6225866 h 6858000"/>
              <a:gd name="connsiteX272" fmla="*/ 6421798 w 12192000"/>
              <a:gd name="connsiteY272" fmla="*/ 6211318 h 6858000"/>
              <a:gd name="connsiteX273" fmla="*/ 6434138 w 12192000"/>
              <a:gd name="connsiteY273" fmla="*/ 6230024 h 6858000"/>
              <a:gd name="connsiteX274" fmla="*/ 6407402 w 12192000"/>
              <a:gd name="connsiteY274" fmla="*/ 6275750 h 6858000"/>
              <a:gd name="connsiteX275" fmla="*/ 6409459 w 12192000"/>
              <a:gd name="connsiteY275" fmla="*/ 6277827 h 6858000"/>
              <a:gd name="connsiteX276" fmla="*/ 6423855 w 12192000"/>
              <a:gd name="connsiteY276" fmla="*/ 6292377 h 6858000"/>
              <a:gd name="connsiteX277" fmla="*/ 6425911 w 12192000"/>
              <a:gd name="connsiteY277" fmla="*/ 6292377 h 6858000"/>
              <a:gd name="connsiteX278" fmla="*/ 6471156 w 12192000"/>
              <a:gd name="connsiteY278" fmla="*/ 6265357 h 6858000"/>
              <a:gd name="connsiteX279" fmla="*/ 6487608 w 12192000"/>
              <a:gd name="connsiteY279" fmla="*/ 6279906 h 6858000"/>
              <a:gd name="connsiteX280" fmla="*/ 6475269 w 12192000"/>
              <a:gd name="connsiteY280" fmla="*/ 6329789 h 6858000"/>
              <a:gd name="connsiteX281" fmla="*/ 6475269 w 12192000"/>
              <a:gd name="connsiteY281" fmla="*/ 6331868 h 6858000"/>
              <a:gd name="connsiteX282" fmla="*/ 6493777 w 12192000"/>
              <a:gd name="connsiteY282" fmla="*/ 6342259 h 6858000"/>
              <a:gd name="connsiteX283" fmla="*/ 6493777 w 12192000"/>
              <a:gd name="connsiteY283" fmla="*/ 6344338 h 6858000"/>
              <a:gd name="connsiteX284" fmla="*/ 6495834 w 12192000"/>
              <a:gd name="connsiteY284" fmla="*/ 6342259 h 6858000"/>
              <a:gd name="connsiteX285" fmla="*/ 6532851 w 12192000"/>
              <a:gd name="connsiteY285" fmla="*/ 6304848 h 6858000"/>
              <a:gd name="connsiteX286" fmla="*/ 6551360 w 12192000"/>
              <a:gd name="connsiteY286" fmla="*/ 6313162 h 6858000"/>
              <a:gd name="connsiteX287" fmla="*/ 6549304 w 12192000"/>
              <a:gd name="connsiteY287" fmla="*/ 6340182 h 6858000"/>
              <a:gd name="connsiteX288" fmla="*/ 6551360 w 12192000"/>
              <a:gd name="connsiteY288" fmla="*/ 6365123 h 6858000"/>
              <a:gd name="connsiteX289" fmla="*/ 6551360 w 12192000"/>
              <a:gd name="connsiteY289" fmla="*/ 6367201 h 6858000"/>
              <a:gd name="connsiteX290" fmla="*/ 6553417 w 12192000"/>
              <a:gd name="connsiteY290" fmla="*/ 6367201 h 6858000"/>
              <a:gd name="connsiteX291" fmla="*/ 6573982 w 12192000"/>
              <a:gd name="connsiteY291" fmla="*/ 6373436 h 6858000"/>
              <a:gd name="connsiteX292" fmla="*/ 6576039 w 12192000"/>
              <a:gd name="connsiteY292" fmla="*/ 6373436 h 6858000"/>
              <a:gd name="connsiteX293" fmla="*/ 6600717 w 12192000"/>
              <a:gd name="connsiteY293" fmla="*/ 6327711 h 6858000"/>
              <a:gd name="connsiteX294" fmla="*/ 6623339 w 12192000"/>
              <a:gd name="connsiteY294" fmla="*/ 6329789 h 6858000"/>
              <a:gd name="connsiteX295" fmla="*/ 6635678 w 12192000"/>
              <a:gd name="connsiteY295" fmla="*/ 6381750 h 6858000"/>
              <a:gd name="connsiteX296" fmla="*/ 6637734 w 12192000"/>
              <a:gd name="connsiteY296" fmla="*/ 6381750 h 6858000"/>
              <a:gd name="connsiteX297" fmla="*/ 6658300 w 12192000"/>
              <a:gd name="connsiteY297" fmla="*/ 6381750 h 6858000"/>
              <a:gd name="connsiteX298" fmla="*/ 6660357 w 12192000"/>
              <a:gd name="connsiteY298" fmla="*/ 6381750 h 6858000"/>
              <a:gd name="connsiteX299" fmla="*/ 6674753 w 12192000"/>
              <a:gd name="connsiteY299" fmla="*/ 6329789 h 6858000"/>
              <a:gd name="connsiteX300" fmla="*/ 6695318 w 12192000"/>
              <a:gd name="connsiteY300" fmla="*/ 6327711 h 6858000"/>
              <a:gd name="connsiteX301" fmla="*/ 6722053 w 12192000"/>
              <a:gd name="connsiteY301" fmla="*/ 6373436 h 6858000"/>
              <a:gd name="connsiteX302" fmla="*/ 6742618 w 12192000"/>
              <a:gd name="connsiteY302" fmla="*/ 6367201 h 6858000"/>
              <a:gd name="connsiteX303" fmla="*/ 6744675 w 12192000"/>
              <a:gd name="connsiteY303" fmla="*/ 6367201 h 6858000"/>
              <a:gd name="connsiteX304" fmla="*/ 6746731 w 12192000"/>
              <a:gd name="connsiteY304" fmla="*/ 6340182 h 6858000"/>
              <a:gd name="connsiteX305" fmla="*/ 6744675 w 12192000"/>
              <a:gd name="connsiteY305" fmla="*/ 6313162 h 6858000"/>
              <a:gd name="connsiteX306" fmla="*/ 6765240 w 12192000"/>
              <a:gd name="connsiteY306" fmla="*/ 6304848 h 6858000"/>
              <a:gd name="connsiteX307" fmla="*/ 6802257 w 12192000"/>
              <a:gd name="connsiteY307" fmla="*/ 6342259 h 6858000"/>
              <a:gd name="connsiteX308" fmla="*/ 6820766 w 12192000"/>
              <a:gd name="connsiteY308" fmla="*/ 6331868 h 6858000"/>
              <a:gd name="connsiteX309" fmla="*/ 6822823 w 12192000"/>
              <a:gd name="connsiteY309" fmla="*/ 6329789 h 6858000"/>
              <a:gd name="connsiteX310" fmla="*/ 6822823 w 12192000"/>
              <a:gd name="connsiteY310" fmla="*/ 6327711 h 6858000"/>
              <a:gd name="connsiteX311" fmla="*/ 6808427 w 12192000"/>
              <a:gd name="connsiteY311" fmla="*/ 6279906 h 6858000"/>
              <a:gd name="connsiteX312" fmla="*/ 6824879 w 12192000"/>
              <a:gd name="connsiteY312" fmla="*/ 6265357 h 6858000"/>
              <a:gd name="connsiteX313" fmla="*/ 6870123 w 12192000"/>
              <a:gd name="connsiteY313" fmla="*/ 6292377 h 6858000"/>
              <a:gd name="connsiteX314" fmla="*/ 6872180 w 12192000"/>
              <a:gd name="connsiteY314" fmla="*/ 6292377 h 6858000"/>
              <a:gd name="connsiteX315" fmla="*/ 6886576 w 12192000"/>
              <a:gd name="connsiteY315" fmla="*/ 6275750 h 6858000"/>
              <a:gd name="connsiteX316" fmla="*/ 6888632 w 12192000"/>
              <a:gd name="connsiteY316" fmla="*/ 6275750 h 6858000"/>
              <a:gd name="connsiteX317" fmla="*/ 6861897 w 12192000"/>
              <a:gd name="connsiteY317" fmla="*/ 6230024 h 6858000"/>
              <a:gd name="connsiteX318" fmla="*/ 6874236 w 12192000"/>
              <a:gd name="connsiteY318" fmla="*/ 6211318 h 6858000"/>
              <a:gd name="connsiteX319" fmla="*/ 6925650 w 12192000"/>
              <a:gd name="connsiteY319" fmla="*/ 6225866 h 6858000"/>
              <a:gd name="connsiteX320" fmla="*/ 6927706 w 12192000"/>
              <a:gd name="connsiteY320" fmla="*/ 6223788 h 6858000"/>
              <a:gd name="connsiteX321" fmla="*/ 6937989 w 12192000"/>
              <a:gd name="connsiteY321" fmla="*/ 6205082 h 6858000"/>
              <a:gd name="connsiteX322" fmla="*/ 6937989 w 12192000"/>
              <a:gd name="connsiteY322" fmla="*/ 6203004 h 6858000"/>
              <a:gd name="connsiteX323" fmla="*/ 6900972 w 12192000"/>
              <a:gd name="connsiteY323" fmla="*/ 6167669 h 6858000"/>
              <a:gd name="connsiteX324" fmla="*/ 6909198 w 12192000"/>
              <a:gd name="connsiteY324" fmla="*/ 6146886 h 6858000"/>
              <a:gd name="connsiteX325" fmla="*/ 6960611 w 12192000"/>
              <a:gd name="connsiteY325" fmla="*/ 6146886 h 6858000"/>
              <a:gd name="connsiteX326" fmla="*/ 6962667 w 12192000"/>
              <a:gd name="connsiteY326" fmla="*/ 6146886 h 6858000"/>
              <a:gd name="connsiteX327" fmla="*/ 6966781 w 12192000"/>
              <a:gd name="connsiteY327" fmla="*/ 6126101 h 6858000"/>
              <a:gd name="connsiteX328" fmla="*/ 6966781 w 12192000"/>
              <a:gd name="connsiteY328" fmla="*/ 6124022 h 6858000"/>
              <a:gd name="connsiteX329" fmla="*/ 6921537 w 12192000"/>
              <a:gd name="connsiteY329" fmla="*/ 6097002 h 6858000"/>
              <a:gd name="connsiteX330" fmla="*/ 6925650 w 12192000"/>
              <a:gd name="connsiteY330" fmla="*/ 6076218 h 6858000"/>
              <a:gd name="connsiteX331" fmla="*/ 6975007 w 12192000"/>
              <a:gd name="connsiteY331" fmla="*/ 6061669 h 6858000"/>
              <a:gd name="connsiteX332" fmla="*/ 6977063 w 12192000"/>
              <a:gd name="connsiteY332" fmla="*/ 6061669 h 6858000"/>
              <a:gd name="connsiteX333" fmla="*/ 6977063 w 12192000"/>
              <a:gd name="connsiteY333" fmla="*/ 6049198 h 6858000"/>
              <a:gd name="connsiteX334" fmla="*/ 6977063 w 12192000"/>
              <a:gd name="connsiteY334" fmla="*/ 6038805 h 6858000"/>
              <a:gd name="connsiteX335" fmla="*/ 6975007 w 12192000"/>
              <a:gd name="connsiteY335" fmla="*/ 6038805 h 6858000"/>
              <a:gd name="connsiteX336" fmla="*/ 6925650 w 12192000"/>
              <a:gd name="connsiteY336" fmla="*/ 6024257 h 6858000"/>
              <a:gd name="connsiteX337" fmla="*/ 6923593 w 12192000"/>
              <a:gd name="connsiteY337" fmla="*/ 6003472 h 6858000"/>
              <a:gd name="connsiteX338" fmla="*/ 6966781 w 12192000"/>
              <a:gd name="connsiteY338" fmla="*/ 5976452 h 6858000"/>
              <a:gd name="connsiteX339" fmla="*/ 6968837 w 12192000"/>
              <a:gd name="connsiteY339" fmla="*/ 5976452 h 6858000"/>
              <a:gd name="connsiteX340" fmla="*/ 6968837 w 12192000"/>
              <a:gd name="connsiteY340" fmla="*/ 5974373 h 6858000"/>
              <a:gd name="connsiteX341" fmla="*/ 6962667 w 12192000"/>
              <a:gd name="connsiteY341" fmla="*/ 5953589 h 6858000"/>
              <a:gd name="connsiteX342" fmla="*/ 6960611 w 12192000"/>
              <a:gd name="connsiteY342" fmla="*/ 5953589 h 6858000"/>
              <a:gd name="connsiteX343" fmla="*/ 6909198 w 12192000"/>
              <a:gd name="connsiteY343" fmla="*/ 5953589 h 6858000"/>
              <a:gd name="connsiteX344" fmla="*/ 6900972 w 12192000"/>
              <a:gd name="connsiteY344" fmla="*/ 5932805 h 6858000"/>
              <a:gd name="connsiteX345" fmla="*/ 6937989 w 12192000"/>
              <a:gd name="connsiteY345" fmla="*/ 5895393 h 6858000"/>
              <a:gd name="connsiteX346" fmla="*/ 6937989 w 12192000"/>
              <a:gd name="connsiteY346" fmla="*/ 5893314 h 6858000"/>
              <a:gd name="connsiteX347" fmla="*/ 6927706 w 12192000"/>
              <a:gd name="connsiteY347" fmla="*/ 5874608 h 6858000"/>
              <a:gd name="connsiteX348" fmla="*/ 6925650 w 12192000"/>
              <a:gd name="connsiteY348" fmla="*/ 5874608 h 6858000"/>
              <a:gd name="connsiteX349" fmla="*/ 6876293 w 12192000"/>
              <a:gd name="connsiteY349" fmla="*/ 5887079 h 6858000"/>
              <a:gd name="connsiteX350" fmla="*/ 6861897 w 12192000"/>
              <a:gd name="connsiteY350" fmla="*/ 5870451 h 6858000"/>
              <a:gd name="connsiteX351" fmla="*/ 6888632 w 12192000"/>
              <a:gd name="connsiteY351" fmla="*/ 5824725 h 6858000"/>
              <a:gd name="connsiteX352" fmla="*/ 6888632 w 12192000"/>
              <a:gd name="connsiteY352" fmla="*/ 5822647 h 6858000"/>
              <a:gd name="connsiteX353" fmla="*/ 6872180 w 12192000"/>
              <a:gd name="connsiteY353" fmla="*/ 5808097 h 6858000"/>
              <a:gd name="connsiteX354" fmla="*/ 6826936 w 12192000"/>
              <a:gd name="connsiteY354" fmla="*/ 5833039 h 6858000"/>
              <a:gd name="connsiteX355" fmla="*/ 6808427 w 12192000"/>
              <a:gd name="connsiteY355" fmla="*/ 5820568 h 6858000"/>
              <a:gd name="connsiteX356" fmla="*/ 6822823 w 12192000"/>
              <a:gd name="connsiteY356" fmla="*/ 5770685 h 6858000"/>
              <a:gd name="connsiteX357" fmla="*/ 6822823 w 12192000"/>
              <a:gd name="connsiteY357" fmla="*/ 5768607 h 6858000"/>
              <a:gd name="connsiteX358" fmla="*/ 6804314 w 12192000"/>
              <a:gd name="connsiteY358" fmla="*/ 5758215 h 6858000"/>
              <a:gd name="connsiteX359" fmla="*/ 6802257 w 12192000"/>
              <a:gd name="connsiteY359" fmla="*/ 5756136 h 6858000"/>
              <a:gd name="connsiteX360" fmla="*/ 6802257 w 12192000"/>
              <a:gd name="connsiteY360" fmla="*/ 5758215 h 6858000"/>
              <a:gd name="connsiteX361" fmla="*/ 6765240 w 12192000"/>
              <a:gd name="connsiteY361" fmla="*/ 5793548 h 6858000"/>
              <a:gd name="connsiteX362" fmla="*/ 6744675 w 12192000"/>
              <a:gd name="connsiteY362" fmla="*/ 5785235 h 6858000"/>
              <a:gd name="connsiteX363" fmla="*/ 6748788 w 12192000"/>
              <a:gd name="connsiteY363" fmla="*/ 5758215 h 6858000"/>
              <a:gd name="connsiteX364" fmla="*/ 6744675 w 12192000"/>
              <a:gd name="connsiteY364" fmla="*/ 5733273 h 6858000"/>
              <a:gd name="connsiteX365" fmla="*/ 6744675 w 12192000"/>
              <a:gd name="connsiteY365" fmla="*/ 5731195 h 6858000"/>
              <a:gd name="connsiteX366" fmla="*/ 6742618 w 12192000"/>
              <a:gd name="connsiteY366" fmla="*/ 5731195 h 6858000"/>
              <a:gd name="connsiteX367" fmla="*/ 6722053 w 12192000"/>
              <a:gd name="connsiteY367" fmla="*/ 5727038 h 6858000"/>
              <a:gd name="connsiteX368" fmla="*/ 6695318 w 12192000"/>
              <a:gd name="connsiteY368" fmla="*/ 5772764 h 6858000"/>
              <a:gd name="connsiteX369" fmla="*/ 6672696 w 12192000"/>
              <a:gd name="connsiteY369" fmla="*/ 5768607 h 6858000"/>
              <a:gd name="connsiteX370" fmla="*/ 6660357 w 12192000"/>
              <a:gd name="connsiteY370" fmla="*/ 5718724 h 6858000"/>
              <a:gd name="connsiteX371" fmla="*/ 6658300 w 12192000"/>
              <a:gd name="connsiteY371" fmla="*/ 5718724 h 6858000"/>
              <a:gd name="connsiteX372" fmla="*/ 6637734 w 12192000"/>
              <a:gd name="connsiteY372" fmla="*/ 5718724 h 6858000"/>
              <a:gd name="connsiteX373" fmla="*/ 6635678 w 12192000"/>
              <a:gd name="connsiteY373" fmla="*/ 5718724 h 6858000"/>
              <a:gd name="connsiteX374" fmla="*/ 0 w 12192000"/>
              <a:gd name="connsiteY374" fmla="*/ 0 h 6858000"/>
              <a:gd name="connsiteX375" fmla="*/ 12192000 w 12192000"/>
              <a:gd name="connsiteY375" fmla="*/ 0 h 6858000"/>
              <a:gd name="connsiteX376" fmla="*/ 12192000 w 12192000"/>
              <a:gd name="connsiteY376" fmla="*/ 6858000 h 6858000"/>
              <a:gd name="connsiteX377" fmla="*/ 4539049 w 12192000"/>
              <a:gd name="connsiteY377" fmla="*/ 6858000 h 6858000"/>
              <a:gd name="connsiteX378" fmla="*/ 0 w 12192000"/>
              <a:gd name="connsiteY378" fmla="*/ 6858000 h 6858000"/>
              <a:gd name="connsiteX379" fmla="*/ 0 w 12192000"/>
              <a:gd name="connsiteY379" fmla="*/ 62731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Lst>
            <a:rect l="l" t="t" r="r" b="b"/>
            <a:pathLst>
              <a:path w="12192000" h="6858000">
                <a:moveTo>
                  <a:pt x="6602777" y="6116155"/>
                </a:moveTo>
                <a:cubicBezTo>
                  <a:pt x="6606858" y="6114071"/>
                  <a:pt x="6608899" y="6114071"/>
                  <a:pt x="6612980" y="6116155"/>
                </a:cubicBezTo>
                <a:cubicBezTo>
                  <a:pt x="6615021" y="6118240"/>
                  <a:pt x="6617061" y="6120324"/>
                  <a:pt x="6617061" y="6124493"/>
                </a:cubicBezTo>
                <a:cubicBezTo>
                  <a:pt x="6623183" y="6226637"/>
                  <a:pt x="6623183" y="6226637"/>
                  <a:pt x="6623183" y="6226637"/>
                </a:cubicBezTo>
                <a:cubicBezTo>
                  <a:pt x="6625224" y="6232890"/>
                  <a:pt x="6623183" y="6234975"/>
                  <a:pt x="6621142" y="6237059"/>
                </a:cubicBezTo>
                <a:cubicBezTo>
                  <a:pt x="6619102" y="6239144"/>
                  <a:pt x="6617061" y="6237059"/>
                  <a:pt x="6615021" y="6237059"/>
                </a:cubicBezTo>
                <a:cubicBezTo>
                  <a:pt x="6570127" y="6226637"/>
                  <a:pt x="6539517" y="6207875"/>
                  <a:pt x="6508908" y="6174523"/>
                </a:cubicBezTo>
                <a:cubicBezTo>
                  <a:pt x="6506867" y="6172439"/>
                  <a:pt x="6504827" y="6170354"/>
                  <a:pt x="6504827" y="6168270"/>
                </a:cubicBezTo>
                <a:cubicBezTo>
                  <a:pt x="6504827" y="6168270"/>
                  <a:pt x="6504827" y="6168270"/>
                  <a:pt x="6504827" y="6166184"/>
                </a:cubicBezTo>
                <a:cubicBezTo>
                  <a:pt x="6504827" y="6164100"/>
                  <a:pt x="6508908" y="6162015"/>
                  <a:pt x="6510948" y="6162015"/>
                </a:cubicBezTo>
                <a:cubicBezTo>
                  <a:pt x="6602777" y="6116155"/>
                  <a:pt x="6602777" y="6116155"/>
                  <a:pt x="6602777" y="6116155"/>
                </a:cubicBezTo>
                <a:close/>
                <a:moveTo>
                  <a:pt x="6685511" y="6114071"/>
                </a:moveTo>
                <a:cubicBezTo>
                  <a:pt x="6689631" y="6114071"/>
                  <a:pt x="6691692" y="6114071"/>
                  <a:pt x="6695813" y="6114071"/>
                </a:cubicBezTo>
                <a:cubicBezTo>
                  <a:pt x="6786472" y="6159837"/>
                  <a:pt x="6786472" y="6159837"/>
                  <a:pt x="6786472" y="6159837"/>
                </a:cubicBezTo>
                <a:cubicBezTo>
                  <a:pt x="6790593" y="6161917"/>
                  <a:pt x="6792654" y="6163997"/>
                  <a:pt x="6794714" y="6166078"/>
                </a:cubicBezTo>
                <a:cubicBezTo>
                  <a:pt x="6794714" y="6168158"/>
                  <a:pt x="6792654" y="6170238"/>
                  <a:pt x="6790593" y="6172318"/>
                </a:cubicBezTo>
                <a:cubicBezTo>
                  <a:pt x="6759687" y="6205602"/>
                  <a:pt x="6726720" y="6224325"/>
                  <a:pt x="6683451" y="6234726"/>
                </a:cubicBezTo>
                <a:cubicBezTo>
                  <a:pt x="6679330" y="6236806"/>
                  <a:pt x="6677269" y="6236806"/>
                  <a:pt x="6675208" y="6234726"/>
                </a:cubicBezTo>
                <a:cubicBezTo>
                  <a:pt x="6673148" y="6232646"/>
                  <a:pt x="6673148" y="6228485"/>
                  <a:pt x="6673148" y="6226405"/>
                </a:cubicBezTo>
                <a:cubicBezTo>
                  <a:pt x="6681390" y="6122392"/>
                  <a:pt x="6681390" y="6122392"/>
                  <a:pt x="6681390" y="6122392"/>
                </a:cubicBezTo>
                <a:cubicBezTo>
                  <a:pt x="6681390" y="6120312"/>
                  <a:pt x="6683451" y="6116151"/>
                  <a:pt x="6685511" y="6114071"/>
                </a:cubicBezTo>
                <a:close/>
                <a:moveTo>
                  <a:pt x="5867776" y="6074328"/>
                </a:moveTo>
                <a:cubicBezTo>
                  <a:pt x="5867776" y="6074328"/>
                  <a:pt x="5867776" y="6074328"/>
                  <a:pt x="5867776" y="6117531"/>
                </a:cubicBezTo>
                <a:cubicBezTo>
                  <a:pt x="5867776" y="6117531"/>
                  <a:pt x="5840708" y="6125760"/>
                  <a:pt x="5819888" y="6125760"/>
                </a:cubicBezTo>
                <a:cubicBezTo>
                  <a:pt x="5803231" y="6125760"/>
                  <a:pt x="5801149" y="6109302"/>
                  <a:pt x="5801149" y="6101073"/>
                </a:cubicBezTo>
                <a:cubicBezTo>
                  <a:pt x="5801149" y="6086672"/>
                  <a:pt x="5809477" y="6078443"/>
                  <a:pt x="5826134" y="6076386"/>
                </a:cubicBezTo>
                <a:close/>
                <a:moveTo>
                  <a:pt x="5518276" y="6004194"/>
                </a:moveTo>
                <a:cubicBezTo>
                  <a:pt x="5546913" y="6004194"/>
                  <a:pt x="5559186" y="6020801"/>
                  <a:pt x="5559186" y="6064393"/>
                </a:cubicBezTo>
                <a:cubicBezTo>
                  <a:pt x="5559186" y="6101757"/>
                  <a:pt x="5553050" y="6124591"/>
                  <a:pt x="5518276" y="6124591"/>
                </a:cubicBezTo>
                <a:cubicBezTo>
                  <a:pt x="5483500" y="6124591"/>
                  <a:pt x="5477363" y="6101757"/>
                  <a:pt x="5477363" y="6064393"/>
                </a:cubicBezTo>
                <a:cubicBezTo>
                  <a:pt x="5477363" y="6020801"/>
                  <a:pt x="5487591" y="6004194"/>
                  <a:pt x="5518276" y="6004194"/>
                </a:cubicBezTo>
                <a:close/>
                <a:moveTo>
                  <a:pt x="6672498" y="5995882"/>
                </a:moveTo>
                <a:cubicBezTo>
                  <a:pt x="6675325" y="5995363"/>
                  <a:pt x="6678409" y="5995882"/>
                  <a:pt x="6681491" y="5996921"/>
                </a:cubicBezTo>
                <a:cubicBezTo>
                  <a:pt x="6697937" y="6009390"/>
                  <a:pt x="6708215" y="6028092"/>
                  <a:pt x="6708215" y="6048872"/>
                </a:cubicBezTo>
                <a:cubicBezTo>
                  <a:pt x="6708215" y="6080043"/>
                  <a:pt x="6681491" y="6107057"/>
                  <a:pt x="6648601" y="6107057"/>
                </a:cubicBezTo>
                <a:cubicBezTo>
                  <a:pt x="6615711" y="6107057"/>
                  <a:pt x="6588987" y="6080043"/>
                  <a:pt x="6588987" y="6048872"/>
                </a:cubicBezTo>
                <a:cubicBezTo>
                  <a:pt x="6588987" y="6028092"/>
                  <a:pt x="6599266" y="6009390"/>
                  <a:pt x="6615711" y="5999000"/>
                </a:cubicBezTo>
                <a:cubicBezTo>
                  <a:pt x="6621878" y="5994843"/>
                  <a:pt x="6628045" y="5994843"/>
                  <a:pt x="6632156" y="6001077"/>
                </a:cubicBezTo>
                <a:cubicBezTo>
                  <a:pt x="6636268" y="6007312"/>
                  <a:pt x="6634212" y="6013545"/>
                  <a:pt x="6630100" y="6017702"/>
                </a:cubicBezTo>
                <a:cubicBezTo>
                  <a:pt x="6619822" y="6023936"/>
                  <a:pt x="6613655" y="6036404"/>
                  <a:pt x="6613655" y="6048872"/>
                </a:cubicBezTo>
                <a:cubicBezTo>
                  <a:pt x="6613655" y="6067575"/>
                  <a:pt x="6630100" y="6084199"/>
                  <a:pt x="6648601" y="6084199"/>
                </a:cubicBezTo>
                <a:cubicBezTo>
                  <a:pt x="6667102" y="6084199"/>
                  <a:pt x="6683547" y="6067575"/>
                  <a:pt x="6683547" y="6048872"/>
                </a:cubicBezTo>
                <a:cubicBezTo>
                  <a:pt x="6683547" y="6036404"/>
                  <a:pt x="6677381" y="6023936"/>
                  <a:pt x="6667102" y="6017702"/>
                </a:cubicBezTo>
                <a:cubicBezTo>
                  <a:pt x="6662991" y="6013545"/>
                  <a:pt x="6660935" y="6007312"/>
                  <a:pt x="6665047" y="6001077"/>
                </a:cubicBezTo>
                <a:cubicBezTo>
                  <a:pt x="6667102" y="5997961"/>
                  <a:pt x="6669672" y="5996402"/>
                  <a:pt x="6672498" y="5995882"/>
                </a:cubicBezTo>
                <a:close/>
                <a:moveTo>
                  <a:pt x="6821432" y="5980816"/>
                </a:moveTo>
                <a:cubicBezTo>
                  <a:pt x="6823499" y="5980816"/>
                  <a:pt x="6825565" y="5984968"/>
                  <a:pt x="6825565" y="5987045"/>
                </a:cubicBezTo>
                <a:cubicBezTo>
                  <a:pt x="6837964" y="6030643"/>
                  <a:pt x="6837964" y="6068013"/>
                  <a:pt x="6825565" y="6111612"/>
                </a:cubicBezTo>
                <a:cubicBezTo>
                  <a:pt x="6823499" y="6115764"/>
                  <a:pt x="6823499" y="6117840"/>
                  <a:pt x="6821432" y="6117840"/>
                </a:cubicBezTo>
                <a:cubicBezTo>
                  <a:pt x="6817299" y="6119916"/>
                  <a:pt x="6815233" y="6117840"/>
                  <a:pt x="6813166" y="6115764"/>
                </a:cubicBezTo>
                <a:cubicBezTo>
                  <a:pt x="6728441" y="6057632"/>
                  <a:pt x="6728441" y="6057632"/>
                  <a:pt x="6728441" y="6057632"/>
                </a:cubicBezTo>
                <a:cubicBezTo>
                  <a:pt x="6724308" y="6055557"/>
                  <a:pt x="6722242" y="6053480"/>
                  <a:pt x="6722242" y="6049328"/>
                </a:cubicBezTo>
                <a:cubicBezTo>
                  <a:pt x="6722242" y="6047252"/>
                  <a:pt x="6724308" y="6043100"/>
                  <a:pt x="6728441" y="6041024"/>
                </a:cubicBezTo>
                <a:cubicBezTo>
                  <a:pt x="6813166" y="5982893"/>
                  <a:pt x="6813166" y="5982893"/>
                  <a:pt x="6813166" y="5982893"/>
                </a:cubicBezTo>
                <a:cubicBezTo>
                  <a:pt x="6815233" y="5980816"/>
                  <a:pt x="6819366" y="5980816"/>
                  <a:pt x="6821432" y="5980816"/>
                </a:cubicBezTo>
                <a:close/>
                <a:moveTo>
                  <a:pt x="6475604" y="5980816"/>
                </a:moveTo>
                <a:cubicBezTo>
                  <a:pt x="6479695" y="5980816"/>
                  <a:pt x="6481741" y="5982893"/>
                  <a:pt x="6483787" y="5984968"/>
                </a:cubicBezTo>
                <a:cubicBezTo>
                  <a:pt x="6567656" y="6041024"/>
                  <a:pt x="6567656" y="6041024"/>
                  <a:pt x="6567656" y="6041024"/>
                </a:cubicBezTo>
                <a:cubicBezTo>
                  <a:pt x="6571747" y="6043100"/>
                  <a:pt x="6573792" y="6047252"/>
                  <a:pt x="6573792" y="6049328"/>
                </a:cubicBezTo>
                <a:cubicBezTo>
                  <a:pt x="6573792" y="6053480"/>
                  <a:pt x="6571747" y="6055557"/>
                  <a:pt x="6567656" y="6057632"/>
                </a:cubicBezTo>
                <a:lnTo>
                  <a:pt x="6483787" y="6115764"/>
                </a:lnTo>
                <a:cubicBezTo>
                  <a:pt x="6479695" y="6117840"/>
                  <a:pt x="6477650" y="6119916"/>
                  <a:pt x="6475604" y="6117840"/>
                </a:cubicBezTo>
                <a:cubicBezTo>
                  <a:pt x="6473559" y="6117840"/>
                  <a:pt x="6471513" y="6115764"/>
                  <a:pt x="6471513" y="6111612"/>
                </a:cubicBezTo>
                <a:cubicBezTo>
                  <a:pt x="6459240" y="6068013"/>
                  <a:pt x="6459240" y="6032719"/>
                  <a:pt x="6471513" y="5987045"/>
                </a:cubicBezTo>
                <a:cubicBezTo>
                  <a:pt x="6471513" y="5984968"/>
                  <a:pt x="6473559" y="5982893"/>
                  <a:pt x="6475604" y="5980816"/>
                </a:cubicBezTo>
                <a:close/>
                <a:moveTo>
                  <a:pt x="6087559" y="5970296"/>
                </a:moveTo>
                <a:cubicBezTo>
                  <a:pt x="6085506" y="5970296"/>
                  <a:pt x="6083453" y="5970296"/>
                  <a:pt x="6081400" y="5972374"/>
                </a:cubicBezTo>
                <a:cubicBezTo>
                  <a:pt x="6079347" y="5974451"/>
                  <a:pt x="6079347" y="5976528"/>
                  <a:pt x="6079347" y="5978604"/>
                </a:cubicBezTo>
                <a:cubicBezTo>
                  <a:pt x="6120408" y="6136455"/>
                  <a:pt x="6120408" y="6136455"/>
                  <a:pt x="6120408" y="6136455"/>
                </a:cubicBezTo>
                <a:cubicBezTo>
                  <a:pt x="6122461" y="6144763"/>
                  <a:pt x="6130674" y="6157224"/>
                  <a:pt x="6145045" y="6157224"/>
                </a:cubicBezTo>
                <a:cubicBezTo>
                  <a:pt x="6153257" y="6157224"/>
                  <a:pt x="6153257" y="6157224"/>
                  <a:pt x="6153257" y="6157224"/>
                </a:cubicBezTo>
                <a:cubicBezTo>
                  <a:pt x="6151204" y="6161378"/>
                  <a:pt x="6151204" y="6163456"/>
                  <a:pt x="6149151" y="6165532"/>
                </a:cubicBezTo>
                <a:cubicBezTo>
                  <a:pt x="6149151" y="6167609"/>
                  <a:pt x="6149151" y="6167609"/>
                  <a:pt x="6149151" y="6167609"/>
                </a:cubicBezTo>
                <a:cubicBezTo>
                  <a:pt x="6147098" y="6173841"/>
                  <a:pt x="6145045" y="6186302"/>
                  <a:pt x="6124515" y="6186302"/>
                </a:cubicBezTo>
                <a:cubicBezTo>
                  <a:pt x="6089612" y="6184225"/>
                  <a:pt x="6089612" y="6184225"/>
                  <a:pt x="6089612" y="6184225"/>
                </a:cubicBezTo>
                <a:cubicBezTo>
                  <a:pt x="6087559" y="6182148"/>
                  <a:pt x="6085506" y="6184225"/>
                  <a:pt x="6083453" y="6186302"/>
                </a:cubicBezTo>
                <a:cubicBezTo>
                  <a:pt x="6081400" y="6186302"/>
                  <a:pt x="6081400" y="6188379"/>
                  <a:pt x="6081400" y="6190456"/>
                </a:cubicBezTo>
                <a:cubicBezTo>
                  <a:pt x="6081400" y="6209149"/>
                  <a:pt x="6081400" y="6209149"/>
                  <a:pt x="6081400" y="6209149"/>
                </a:cubicBezTo>
                <a:cubicBezTo>
                  <a:pt x="6081400" y="6213303"/>
                  <a:pt x="6083453" y="6215380"/>
                  <a:pt x="6087559" y="6215380"/>
                </a:cubicBezTo>
                <a:cubicBezTo>
                  <a:pt x="6097825" y="6219533"/>
                  <a:pt x="6118355" y="6221610"/>
                  <a:pt x="6134780" y="6221610"/>
                </a:cubicBezTo>
                <a:cubicBezTo>
                  <a:pt x="6134780" y="6221610"/>
                  <a:pt x="6134780" y="6221610"/>
                  <a:pt x="6136833" y="6221610"/>
                </a:cubicBezTo>
                <a:cubicBezTo>
                  <a:pt x="6163523" y="6221610"/>
                  <a:pt x="6182000" y="6204995"/>
                  <a:pt x="6190213" y="6169686"/>
                </a:cubicBezTo>
                <a:cubicBezTo>
                  <a:pt x="6200478" y="6130223"/>
                  <a:pt x="6214849" y="6078299"/>
                  <a:pt x="6223062" y="6040914"/>
                </a:cubicBezTo>
                <a:cubicBezTo>
                  <a:pt x="6227168" y="6024298"/>
                  <a:pt x="6231274" y="6009759"/>
                  <a:pt x="6235380" y="5999374"/>
                </a:cubicBezTo>
                <a:cubicBezTo>
                  <a:pt x="6239487" y="5978604"/>
                  <a:pt x="6239487" y="5978604"/>
                  <a:pt x="6239487" y="5978604"/>
                </a:cubicBezTo>
                <a:cubicBezTo>
                  <a:pt x="6239487" y="5976528"/>
                  <a:pt x="6239487" y="5974451"/>
                  <a:pt x="6237434" y="5972374"/>
                </a:cubicBezTo>
                <a:cubicBezTo>
                  <a:pt x="6237434" y="5970296"/>
                  <a:pt x="6235380" y="5970296"/>
                  <a:pt x="6233327" y="5970296"/>
                </a:cubicBezTo>
                <a:cubicBezTo>
                  <a:pt x="6204584" y="5970296"/>
                  <a:pt x="6204584" y="5970296"/>
                  <a:pt x="6204584" y="5970296"/>
                </a:cubicBezTo>
                <a:cubicBezTo>
                  <a:pt x="6202531" y="5970296"/>
                  <a:pt x="6198425" y="5972374"/>
                  <a:pt x="6198425" y="5974451"/>
                </a:cubicBezTo>
                <a:cubicBezTo>
                  <a:pt x="6161469" y="6115685"/>
                  <a:pt x="6161469" y="6115685"/>
                  <a:pt x="6161469" y="6115685"/>
                </a:cubicBezTo>
                <a:cubicBezTo>
                  <a:pt x="6159417" y="6115685"/>
                  <a:pt x="6159417" y="6115685"/>
                  <a:pt x="6159417" y="6115685"/>
                </a:cubicBezTo>
                <a:cubicBezTo>
                  <a:pt x="6120408" y="5974451"/>
                  <a:pt x="6120408" y="5974451"/>
                  <a:pt x="6120408" y="5974451"/>
                </a:cubicBezTo>
                <a:cubicBezTo>
                  <a:pt x="6120408" y="5972374"/>
                  <a:pt x="6118355" y="5970296"/>
                  <a:pt x="6114249" y="5970296"/>
                </a:cubicBezTo>
                <a:cubicBezTo>
                  <a:pt x="6087559" y="5970296"/>
                  <a:pt x="6087559" y="5970296"/>
                  <a:pt x="6087559" y="5970296"/>
                </a:cubicBezTo>
                <a:close/>
                <a:moveTo>
                  <a:pt x="6047787" y="5967959"/>
                </a:moveTo>
                <a:cubicBezTo>
                  <a:pt x="6029376" y="5967959"/>
                  <a:pt x="6010966" y="5980444"/>
                  <a:pt x="5998692" y="5988768"/>
                </a:cubicBezTo>
                <a:cubicBezTo>
                  <a:pt x="5998692" y="5976283"/>
                  <a:pt x="5998692" y="5976283"/>
                  <a:pt x="5998692" y="5976283"/>
                </a:cubicBezTo>
                <a:cubicBezTo>
                  <a:pt x="5998692" y="5972120"/>
                  <a:pt x="5996647" y="5970040"/>
                  <a:pt x="5992556" y="5970040"/>
                </a:cubicBezTo>
                <a:cubicBezTo>
                  <a:pt x="5963918" y="5970040"/>
                  <a:pt x="5963918" y="5970040"/>
                  <a:pt x="5963918" y="5970040"/>
                </a:cubicBezTo>
                <a:cubicBezTo>
                  <a:pt x="5959827" y="5970040"/>
                  <a:pt x="5957781" y="5972120"/>
                  <a:pt x="5957781" y="5976283"/>
                </a:cubicBezTo>
                <a:cubicBezTo>
                  <a:pt x="5957781" y="6151078"/>
                  <a:pt x="5957781" y="6151078"/>
                  <a:pt x="5957781" y="6151078"/>
                </a:cubicBezTo>
                <a:cubicBezTo>
                  <a:pt x="5957781" y="6155240"/>
                  <a:pt x="5959827" y="6157321"/>
                  <a:pt x="5963918" y="6157321"/>
                </a:cubicBezTo>
                <a:cubicBezTo>
                  <a:pt x="5992556" y="6157321"/>
                  <a:pt x="5992556" y="6157321"/>
                  <a:pt x="5992556" y="6157321"/>
                </a:cubicBezTo>
                <a:cubicBezTo>
                  <a:pt x="5996647" y="6157321"/>
                  <a:pt x="5998692" y="6155240"/>
                  <a:pt x="5998692" y="6151078"/>
                </a:cubicBezTo>
                <a:cubicBezTo>
                  <a:pt x="5998692" y="6030386"/>
                  <a:pt x="5998692" y="6030386"/>
                  <a:pt x="5998692" y="6030386"/>
                </a:cubicBezTo>
                <a:cubicBezTo>
                  <a:pt x="6006875" y="6024143"/>
                  <a:pt x="6025285" y="6009577"/>
                  <a:pt x="6049832" y="6007496"/>
                </a:cubicBezTo>
                <a:cubicBezTo>
                  <a:pt x="6053923" y="6007496"/>
                  <a:pt x="6055969" y="6003334"/>
                  <a:pt x="6055969" y="6001253"/>
                </a:cubicBezTo>
                <a:cubicBezTo>
                  <a:pt x="6055969" y="5974202"/>
                  <a:pt x="6055969" y="5974202"/>
                  <a:pt x="6055969" y="5974202"/>
                </a:cubicBezTo>
                <a:cubicBezTo>
                  <a:pt x="6055969" y="5972120"/>
                  <a:pt x="6055969" y="5970040"/>
                  <a:pt x="6053923" y="5970040"/>
                </a:cubicBezTo>
                <a:cubicBezTo>
                  <a:pt x="6051878" y="5967959"/>
                  <a:pt x="6049832" y="5967959"/>
                  <a:pt x="6047787" y="5967959"/>
                </a:cubicBezTo>
                <a:close/>
                <a:moveTo>
                  <a:pt x="5846879" y="5964452"/>
                </a:moveTo>
                <a:cubicBezTo>
                  <a:pt x="5826186" y="5964452"/>
                  <a:pt x="5791009" y="5970690"/>
                  <a:pt x="5776523" y="5972770"/>
                </a:cubicBezTo>
                <a:cubicBezTo>
                  <a:pt x="5772384" y="5972770"/>
                  <a:pt x="5770315" y="5976928"/>
                  <a:pt x="5770315" y="5979008"/>
                </a:cubicBezTo>
                <a:cubicBezTo>
                  <a:pt x="5770315" y="5979008"/>
                  <a:pt x="5770315" y="5979008"/>
                  <a:pt x="5772384" y="6003961"/>
                </a:cubicBezTo>
                <a:cubicBezTo>
                  <a:pt x="5772384" y="6006040"/>
                  <a:pt x="5772384" y="6008120"/>
                  <a:pt x="5774454" y="6008120"/>
                </a:cubicBezTo>
                <a:cubicBezTo>
                  <a:pt x="5776523" y="6010199"/>
                  <a:pt x="5776523" y="6010199"/>
                  <a:pt x="5778592" y="6010199"/>
                </a:cubicBezTo>
                <a:cubicBezTo>
                  <a:pt x="5795147" y="6010199"/>
                  <a:pt x="5824116" y="6006040"/>
                  <a:pt x="5844809" y="6006040"/>
                </a:cubicBezTo>
                <a:cubicBezTo>
                  <a:pt x="5859294" y="6006040"/>
                  <a:pt x="5867571" y="6014358"/>
                  <a:pt x="5867571" y="6028914"/>
                </a:cubicBezTo>
                <a:cubicBezTo>
                  <a:pt x="5867571" y="6028914"/>
                  <a:pt x="5867571" y="6028914"/>
                  <a:pt x="5867571" y="6041390"/>
                </a:cubicBezTo>
                <a:cubicBezTo>
                  <a:pt x="5867571" y="6041390"/>
                  <a:pt x="5867571" y="6041390"/>
                  <a:pt x="5822047" y="6045549"/>
                </a:cubicBezTo>
                <a:cubicBezTo>
                  <a:pt x="5776523" y="6047629"/>
                  <a:pt x="5757900" y="6064264"/>
                  <a:pt x="5757900" y="6101693"/>
                </a:cubicBezTo>
                <a:cubicBezTo>
                  <a:pt x="5757900" y="6141202"/>
                  <a:pt x="5778592" y="6161996"/>
                  <a:pt x="5813770" y="6161996"/>
                </a:cubicBezTo>
                <a:cubicBezTo>
                  <a:pt x="5842740" y="6161996"/>
                  <a:pt x="5873779" y="6149520"/>
                  <a:pt x="5873779" y="6149520"/>
                </a:cubicBezTo>
                <a:cubicBezTo>
                  <a:pt x="5882056" y="6155758"/>
                  <a:pt x="5888264" y="6159917"/>
                  <a:pt x="5902750" y="6161996"/>
                </a:cubicBezTo>
                <a:cubicBezTo>
                  <a:pt x="5904818" y="6161996"/>
                  <a:pt x="5906888" y="6161996"/>
                  <a:pt x="5908957" y="6159917"/>
                </a:cubicBezTo>
                <a:cubicBezTo>
                  <a:pt x="5908957" y="6157837"/>
                  <a:pt x="5911026" y="6155758"/>
                  <a:pt x="5911026" y="6153679"/>
                </a:cubicBezTo>
                <a:cubicBezTo>
                  <a:pt x="5911026" y="6153679"/>
                  <a:pt x="5911026" y="6153679"/>
                  <a:pt x="5911026" y="6028914"/>
                </a:cubicBezTo>
                <a:cubicBezTo>
                  <a:pt x="5911026" y="5985246"/>
                  <a:pt x="5890333" y="5964452"/>
                  <a:pt x="5846879" y="5964452"/>
                </a:cubicBezTo>
                <a:close/>
                <a:moveTo>
                  <a:pt x="5518274" y="5964452"/>
                </a:moveTo>
                <a:cubicBezTo>
                  <a:pt x="5471794" y="5964452"/>
                  <a:pt x="5434114" y="6008673"/>
                  <a:pt x="5434114" y="6063224"/>
                </a:cubicBezTo>
                <a:cubicBezTo>
                  <a:pt x="5434114" y="6117775"/>
                  <a:pt x="5471794" y="6161996"/>
                  <a:pt x="5518274" y="6161996"/>
                </a:cubicBezTo>
                <a:cubicBezTo>
                  <a:pt x="5564755" y="6161996"/>
                  <a:pt x="5602435" y="6117775"/>
                  <a:pt x="5602435" y="6063224"/>
                </a:cubicBezTo>
                <a:cubicBezTo>
                  <a:pt x="5602435" y="6008673"/>
                  <a:pt x="5564755" y="5964452"/>
                  <a:pt x="5518274" y="5964452"/>
                </a:cubicBezTo>
                <a:close/>
                <a:moveTo>
                  <a:pt x="5302320" y="5938736"/>
                </a:moveTo>
                <a:cubicBezTo>
                  <a:pt x="5302320" y="5938736"/>
                  <a:pt x="5302320" y="5938736"/>
                  <a:pt x="5318685" y="5938736"/>
                </a:cubicBezTo>
                <a:cubicBezTo>
                  <a:pt x="5349369" y="5938736"/>
                  <a:pt x="5361642" y="5959653"/>
                  <a:pt x="5361642" y="5978478"/>
                </a:cubicBezTo>
                <a:cubicBezTo>
                  <a:pt x="5361642" y="6001488"/>
                  <a:pt x="5343232" y="6016129"/>
                  <a:pt x="5316640" y="6016129"/>
                </a:cubicBezTo>
                <a:cubicBezTo>
                  <a:pt x="5294139" y="6018221"/>
                  <a:pt x="5279820" y="6016129"/>
                  <a:pt x="5271637" y="6016129"/>
                </a:cubicBezTo>
                <a:cubicBezTo>
                  <a:pt x="5271637" y="6016129"/>
                  <a:pt x="5271637" y="6016129"/>
                  <a:pt x="5271637" y="5940828"/>
                </a:cubicBezTo>
                <a:cubicBezTo>
                  <a:pt x="5275728" y="5938736"/>
                  <a:pt x="5285956" y="5938736"/>
                  <a:pt x="5302320" y="5938736"/>
                </a:cubicBezTo>
                <a:close/>
                <a:moveTo>
                  <a:pt x="5678557" y="5927047"/>
                </a:moveTo>
                <a:cubicBezTo>
                  <a:pt x="5678557" y="5927047"/>
                  <a:pt x="5678557" y="5927047"/>
                  <a:pt x="5649847" y="5933291"/>
                </a:cubicBezTo>
                <a:cubicBezTo>
                  <a:pt x="5645746" y="5935373"/>
                  <a:pt x="5643695" y="5937455"/>
                  <a:pt x="5643695" y="5939535"/>
                </a:cubicBezTo>
                <a:cubicBezTo>
                  <a:pt x="5643695" y="5939535"/>
                  <a:pt x="5643695" y="5939535"/>
                  <a:pt x="5643695" y="5970757"/>
                </a:cubicBezTo>
                <a:cubicBezTo>
                  <a:pt x="5643695" y="5970757"/>
                  <a:pt x="5643695" y="5970757"/>
                  <a:pt x="5627290" y="5970757"/>
                </a:cubicBezTo>
                <a:cubicBezTo>
                  <a:pt x="5623188" y="5970757"/>
                  <a:pt x="5621138" y="5972839"/>
                  <a:pt x="5621138" y="5977002"/>
                </a:cubicBezTo>
                <a:cubicBezTo>
                  <a:pt x="5621138" y="5977002"/>
                  <a:pt x="5621138" y="5977002"/>
                  <a:pt x="5621138" y="6001980"/>
                </a:cubicBezTo>
                <a:cubicBezTo>
                  <a:pt x="5621138" y="6006143"/>
                  <a:pt x="5623188" y="6008224"/>
                  <a:pt x="5627290" y="6008224"/>
                </a:cubicBezTo>
                <a:cubicBezTo>
                  <a:pt x="5627290" y="6008224"/>
                  <a:pt x="5627290" y="6008224"/>
                  <a:pt x="5643695" y="6008224"/>
                </a:cubicBezTo>
                <a:cubicBezTo>
                  <a:pt x="5643695" y="6008224"/>
                  <a:pt x="5643695" y="6008224"/>
                  <a:pt x="5643695" y="6091483"/>
                </a:cubicBezTo>
                <a:cubicBezTo>
                  <a:pt x="5643695" y="6147682"/>
                  <a:pt x="5658050" y="6164334"/>
                  <a:pt x="5699064" y="6164334"/>
                </a:cubicBezTo>
                <a:cubicBezTo>
                  <a:pt x="5709318" y="6164334"/>
                  <a:pt x="5721622" y="6160171"/>
                  <a:pt x="5731875" y="6160171"/>
                </a:cubicBezTo>
                <a:cubicBezTo>
                  <a:pt x="5735977" y="6158090"/>
                  <a:pt x="5738028" y="6156008"/>
                  <a:pt x="5738028" y="6151845"/>
                </a:cubicBezTo>
                <a:cubicBezTo>
                  <a:pt x="5738028" y="6151845"/>
                  <a:pt x="5738028" y="6151845"/>
                  <a:pt x="5735977" y="6128949"/>
                </a:cubicBezTo>
                <a:cubicBezTo>
                  <a:pt x="5735977" y="6124786"/>
                  <a:pt x="5733926" y="6120623"/>
                  <a:pt x="5729824" y="6120623"/>
                </a:cubicBezTo>
                <a:cubicBezTo>
                  <a:pt x="5723673" y="6120623"/>
                  <a:pt x="5713419" y="6122705"/>
                  <a:pt x="5705217" y="6122705"/>
                </a:cubicBezTo>
                <a:cubicBezTo>
                  <a:pt x="5686761" y="6122705"/>
                  <a:pt x="5686761" y="6112298"/>
                  <a:pt x="5686761" y="6085238"/>
                </a:cubicBezTo>
                <a:cubicBezTo>
                  <a:pt x="5686761" y="6085238"/>
                  <a:pt x="5686761" y="6085238"/>
                  <a:pt x="5686761" y="6008224"/>
                </a:cubicBezTo>
                <a:cubicBezTo>
                  <a:pt x="5686761" y="6008224"/>
                  <a:pt x="5686761" y="6008224"/>
                  <a:pt x="5729824" y="6008224"/>
                </a:cubicBezTo>
                <a:cubicBezTo>
                  <a:pt x="5733926" y="6008224"/>
                  <a:pt x="5735977" y="6006143"/>
                  <a:pt x="5735977" y="6001980"/>
                </a:cubicBezTo>
                <a:cubicBezTo>
                  <a:pt x="5735977" y="6001980"/>
                  <a:pt x="5735977" y="6001980"/>
                  <a:pt x="5735977" y="5977002"/>
                </a:cubicBezTo>
                <a:cubicBezTo>
                  <a:pt x="5735977" y="5972839"/>
                  <a:pt x="5733926" y="5970757"/>
                  <a:pt x="5729824" y="5970757"/>
                </a:cubicBezTo>
                <a:cubicBezTo>
                  <a:pt x="5729824" y="5970757"/>
                  <a:pt x="5729824" y="5970757"/>
                  <a:pt x="5686761" y="5970757"/>
                </a:cubicBezTo>
                <a:cubicBezTo>
                  <a:pt x="5686761" y="5970757"/>
                  <a:pt x="5686761" y="5970757"/>
                  <a:pt x="5686761" y="5933291"/>
                </a:cubicBezTo>
                <a:cubicBezTo>
                  <a:pt x="5686761" y="5931210"/>
                  <a:pt x="5684709" y="5929128"/>
                  <a:pt x="5684709" y="5927047"/>
                </a:cubicBezTo>
                <a:cubicBezTo>
                  <a:pt x="5682658" y="5927047"/>
                  <a:pt x="5680608" y="5927047"/>
                  <a:pt x="5678557" y="5927047"/>
                </a:cubicBezTo>
                <a:close/>
                <a:moveTo>
                  <a:pt x="5312653" y="5897825"/>
                </a:moveTo>
                <a:cubicBezTo>
                  <a:pt x="5302343" y="5897825"/>
                  <a:pt x="5271414" y="5897825"/>
                  <a:pt x="5232236" y="5901977"/>
                </a:cubicBezTo>
                <a:cubicBezTo>
                  <a:pt x="5230173" y="5901977"/>
                  <a:pt x="5226049" y="5906129"/>
                  <a:pt x="5226049" y="5910281"/>
                </a:cubicBezTo>
                <a:cubicBezTo>
                  <a:pt x="5226049" y="5910281"/>
                  <a:pt x="5226049" y="5910281"/>
                  <a:pt x="5226049" y="6151093"/>
                </a:cubicBezTo>
                <a:cubicBezTo>
                  <a:pt x="5226049" y="6155245"/>
                  <a:pt x="5230173" y="6157321"/>
                  <a:pt x="5234297" y="6157321"/>
                </a:cubicBezTo>
                <a:cubicBezTo>
                  <a:pt x="5234297" y="6157321"/>
                  <a:pt x="5234297" y="6157321"/>
                  <a:pt x="5263165" y="6157321"/>
                </a:cubicBezTo>
                <a:cubicBezTo>
                  <a:pt x="5267290" y="6157321"/>
                  <a:pt x="5271414" y="6155245"/>
                  <a:pt x="5271414" y="6151093"/>
                </a:cubicBezTo>
                <a:cubicBezTo>
                  <a:pt x="5271414" y="6151093"/>
                  <a:pt x="5271414" y="6151093"/>
                  <a:pt x="5271414" y="6055599"/>
                </a:cubicBezTo>
                <a:cubicBezTo>
                  <a:pt x="5279661" y="6055599"/>
                  <a:pt x="5298219" y="6057674"/>
                  <a:pt x="5320901" y="6057674"/>
                </a:cubicBezTo>
                <a:cubicBezTo>
                  <a:pt x="5320901" y="6057674"/>
                  <a:pt x="5320901" y="6057674"/>
                  <a:pt x="5362142" y="6153168"/>
                </a:cubicBezTo>
                <a:cubicBezTo>
                  <a:pt x="5364203" y="6157321"/>
                  <a:pt x="5366265" y="6157321"/>
                  <a:pt x="5368327" y="6157321"/>
                </a:cubicBezTo>
                <a:cubicBezTo>
                  <a:pt x="5368327" y="6157321"/>
                  <a:pt x="5368327" y="6157321"/>
                  <a:pt x="5401320" y="6157321"/>
                </a:cubicBezTo>
                <a:cubicBezTo>
                  <a:pt x="5405443" y="6157321"/>
                  <a:pt x="5407505" y="6157321"/>
                  <a:pt x="5407505" y="6155245"/>
                </a:cubicBezTo>
                <a:cubicBezTo>
                  <a:pt x="5409567" y="6153168"/>
                  <a:pt x="5409567" y="6151093"/>
                  <a:pt x="5409567" y="6149017"/>
                </a:cubicBezTo>
                <a:lnTo>
                  <a:pt x="5362142" y="6045219"/>
                </a:lnTo>
                <a:cubicBezTo>
                  <a:pt x="5393071" y="6030687"/>
                  <a:pt x="5407505" y="6007851"/>
                  <a:pt x="5407505" y="5976711"/>
                </a:cubicBezTo>
                <a:cubicBezTo>
                  <a:pt x="5407505" y="5941420"/>
                  <a:pt x="5391009" y="5897825"/>
                  <a:pt x="5318839" y="5897825"/>
                </a:cubicBezTo>
                <a:cubicBezTo>
                  <a:pt x="5318839" y="5897825"/>
                  <a:pt x="5316777" y="5897825"/>
                  <a:pt x="5312653" y="5897825"/>
                </a:cubicBezTo>
                <a:close/>
                <a:moveTo>
                  <a:pt x="6675208" y="5864819"/>
                </a:moveTo>
                <a:cubicBezTo>
                  <a:pt x="6677269" y="5862758"/>
                  <a:pt x="6681390" y="5862758"/>
                  <a:pt x="6683451" y="5864819"/>
                </a:cubicBezTo>
                <a:cubicBezTo>
                  <a:pt x="6726720" y="5875120"/>
                  <a:pt x="6759687" y="5893664"/>
                  <a:pt x="6790593" y="5926632"/>
                </a:cubicBezTo>
                <a:cubicBezTo>
                  <a:pt x="6792654" y="5928692"/>
                  <a:pt x="6794714" y="5930752"/>
                  <a:pt x="6794714" y="5932813"/>
                </a:cubicBezTo>
                <a:cubicBezTo>
                  <a:pt x="6792654" y="5936933"/>
                  <a:pt x="6790593" y="5936933"/>
                  <a:pt x="6786472" y="5938994"/>
                </a:cubicBezTo>
                <a:cubicBezTo>
                  <a:pt x="6695813" y="5982263"/>
                  <a:pt x="6695813" y="5982263"/>
                  <a:pt x="6695813" y="5982263"/>
                </a:cubicBezTo>
                <a:cubicBezTo>
                  <a:pt x="6691692" y="5984323"/>
                  <a:pt x="6687571" y="5984323"/>
                  <a:pt x="6685511" y="5984323"/>
                </a:cubicBezTo>
                <a:cubicBezTo>
                  <a:pt x="6683451" y="5982263"/>
                  <a:pt x="6681390" y="5978142"/>
                  <a:pt x="6681390" y="5974021"/>
                </a:cubicBezTo>
                <a:cubicBezTo>
                  <a:pt x="6673148" y="5873060"/>
                  <a:pt x="6673148" y="5873060"/>
                  <a:pt x="6673148" y="5873060"/>
                </a:cubicBezTo>
                <a:cubicBezTo>
                  <a:pt x="6673148" y="5868939"/>
                  <a:pt x="6673148" y="5866879"/>
                  <a:pt x="6675208" y="5864819"/>
                </a:cubicBezTo>
                <a:close/>
                <a:moveTo>
                  <a:pt x="6617873" y="5864048"/>
                </a:moveTo>
                <a:cubicBezTo>
                  <a:pt x="6619419" y="5863791"/>
                  <a:pt x="6620964" y="5863791"/>
                  <a:pt x="6621994" y="5864823"/>
                </a:cubicBezTo>
                <a:cubicBezTo>
                  <a:pt x="6621994" y="5866888"/>
                  <a:pt x="6624054" y="5868953"/>
                  <a:pt x="6624054" y="5875148"/>
                </a:cubicBezTo>
                <a:cubicBezTo>
                  <a:pt x="6615813" y="5976336"/>
                  <a:pt x="6615813" y="5976336"/>
                  <a:pt x="6615813" y="5976336"/>
                </a:cubicBezTo>
                <a:cubicBezTo>
                  <a:pt x="6615813" y="5980466"/>
                  <a:pt x="6613752" y="5982531"/>
                  <a:pt x="6611692" y="5984596"/>
                </a:cubicBezTo>
                <a:cubicBezTo>
                  <a:pt x="6607571" y="5986661"/>
                  <a:pt x="6605510" y="5986661"/>
                  <a:pt x="6601390" y="5984596"/>
                </a:cubicBezTo>
                <a:cubicBezTo>
                  <a:pt x="6510730" y="5939165"/>
                  <a:pt x="6510730" y="5939165"/>
                  <a:pt x="6510730" y="5939165"/>
                </a:cubicBezTo>
                <a:cubicBezTo>
                  <a:pt x="6506610" y="5939165"/>
                  <a:pt x="6504549" y="5937100"/>
                  <a:pt x="6502489" y="5932970"/>
                </a:cubicBezTo>
                <a:cubicBezTo>
                  <a:pt x="6502489" y="5930904"/>
                  <a:pt x="6504549" y="5928840"/>
                  <a:pt x="6506610" y="5926774"/>
                </a:cubicBezTo>
                <a:cubicBezTo>
                  <a:pt x="6537516" y="5893734"/>
                  <a:pt x="6570483" y="5875148"/>
                  <a:pt x="6613752" y="5864823"/>
                </a:cubicBezTo>
                <a:cubicBezTo>
                  <a:pt x="6614782" y="5864823"/>
                  <a:pt x="6616328" y="5864307"/>
                  <a:pt x="6617873" y="5864048"/>
                </a:cubicBezTo>
                <a:close/>
                <a:moveTo>
                  <a:pt x="6649186" y="5828859"/>
                </a:moveTo>
                <a:cubicBezTo>
                  <a:pt x="6529433" y="5828859"/>
                  <a:pt x="6432355" y="5926985"/>
                  <a:pt x="6432355" y="6048029"/>
                </a:cubicBezTo>
                <a:cubicBezTo>
                  <a:pt x="6432355" y="6169072"/>
                  <a:pt x="6529433" y="6267198"/>
                  <a:pt x="6649186" y="6267198"/>
                </a:cubicBezTo>
                <a:cubicBezTo>
                  <a:pt x="6768939" y="6267198"/>
                  <a:pt x="6866018" y="6169072"/>
                  <a:pt x="6866018" y="6048029"/>
                </a:cubicBezTo>
                <a:cubicBezTo>
                  <a:pt x="6866018" y="5926985"/>
                  <a:pt x="6768939" y="5828859"/>
                  <a:pt x="6649186" y="5828859"/>
                </a:cubicBezTo>
                <a:close/>
                <a:moveTo>
                  <a:pt x="6648602" y="5797300"/>
                </a:moveTo>
                <a:cubicBezTo>
                  <a:pt x="6784816" y="5797300"/>
                  <a:pt x="6895240" y="5909032"/>
                  <a:pt x="6895240" y="6046861"/>
                </a:cubicBezTo>
                <a:cubicBezTo>
                  <a:pt x="6895240" y="6184689"/>
                  <a:pt x="6784816" y="6296422"/>
                  <a:pt x="6648602" y="6296422"/>
                </a:cubicBezTo>
                <a:cubicBezTo>
                  <a:pt x="6512387" y="6296422"/>
                  <a:pt x="6401963" y="6184689"/>
                  <a:pt x="6401963" y="6046861"/>
                </a:cubicBezTo>
                <a:cubicBezTo>
                  <a:pt x="6401963" y="5909032"/>
                  <a:pt x="6512387" y="5797300"/>
                  <a:pt x="6648602" y="5797300"/>
                </a:cubicBezTo>
                <a:close/>
                <a:moveTo>
                  <a:pt x="6635678" y="5718724"/>
                </a:moveTo>
                <a:cubicBezTo>
                  <a:pt x="6627452" y="5733273"/>
                  <a:pt x="6623339" y="5751979"/>
                  <a:pt x="6623339" y="5768607"/>
                </a:cubicBezTo>
                <a:cubicBezTo>
                  <a:pt x="6619226" y="5768607"/>
                  <a:pt x="6602773" y="5770685"/>
                  <a:pt x="6600717" y="5772764"/>
                </a:cubicBezTo>
                <a:cubicBezTo>
                  <a:pt x="6594547" y="5754058"/>
                  <a:pt x="6586321" y="5737430"/>
                  <a:pt x="6573982" y="5727038"/>
                </a:cubicBezTo>
                <a:cubicBezTo>
                  <a:pt x="6573982" y="5724959"/>
                  <a:pt x="6573982" y="5724959"/>
                  <a:pt x="6573982" y="5724959"/>
                </a:cubicBezTo>
                <a:cubicBezTo>
                  <a:pt x="6571926" y="5727038"/>
                  <a:pt x="6571926" y="5727038"/>
                  <a:pt x="6571926" y="5727038"/>
                </a:cubicBezTo>
                <a:cubicBezTo>
                  <a:pt x="6565756" y="5727038"/>
                  <a:pt x="6557530" y="5729116"/>
                  <a:pt x="6551360" y="5731195"/>
                </a:cubicBezTo>
                <a:cubicBezTo>
                  <a:pt x="6551360" y="5733273"/>
                  <a:pt x="6551360" y="5733273"/>
                  <a:pt x="6551360" y="5733273"/>
                </a:cubicBezTo>
                <a:cubicBezTo>
                  <a:pt x="6549304" y="5741587"/>
                  <a:pt x="6547247" y="5749901"/>
                  <a:pt x="6547247" y="5758215"/>
                </a:cubicBezTo>
                <a:cubicBezTo>
                  <a:pt x="6547247" y="5768607"/>
                  <a:pt x="6549304" y="5776921"/>
                  <a:pt x="6551360" y="5785235"/>
                </a:cubicBezTo>
                <a:cubicBezTo>
                  <a:pt x="6549304" y="5785235"/>
                  <a:pt x="6532851" y="5793548"/>
                  <a:pt x="6530795" y="5793548"/>
                </a:cubicBezTo>
                <a:cubicBezTo>
                  <a:pt x="6520512" y="5778999"/>
                  <a:pt x="6508173" y="5764450"/>
                  <a:pt x="6493777" y="5758215"/>
                </a:cubicBezTo>
                <a:cubicBezTo>
                  <a:pt x="6493777" y="5756136"/>
                  <a:pt x="6493777" y="5756136"/>
                  <a:pt x="6493777" y="5756136"/>
                </a:cubicBezTo>
                <a:cubicBezTo>
                  <a:pt x="6491721" y="5756136"/>
                  <a:pt x="6491721" y="5756136"/>
                  <a:pt x="6491721" y="5756136"/>
                </a:cubicBezTo>
                <a:cubicBezTo>
                  <a:pt x="6485551" y="5760293"/>
                  <a:pt x="6479382" y="5764450"/>
                  <a:pt x="6473212" y="5768607"/>
                </a:cubicBezTo>
                <a:cubicBezTo>
                  <a:pt x="6473212" y="5768607"/>
                  <a:pt x="6473212" y="5770685"/>
                  <a:pt x="6473212" y="5770685"/>
                </a:cubicBezTo>
                <a:cubicBezTo>
                  <a:pt x="6473212" y="5787313"/>
                  <a:pt x="6477325" y="5803941"/>
                  <a:pt x="6485551" y="5820568"/>
                </a:cubicBezTo>
                <a:cubicBezTo>
                  <a:pt x="6483495" y="5822647"/>
                  <a:pt x="6471156" y="5830961"/>
                  <a:pt x="6469099" y="5833039"/>
                </a:cubicBezTo>
                <a:cubicBezTo>
                  <a:pt x="6456760" y="5820568"/>
                  <a:pt x="6440308" y="5810176"/>
                  <a:pt x="6425911" y="5806019"/>
                </a:cubicBezTo>
                <a:cubicBezTo>
                  <a:pt x="6423855" y="5806019"/>
                  <a:pt x="6423855" y="5806019"/>
                  <a:pt x="6423855" y="5806019"/>
                </a:cubicBezTo>
                <a:cubicBezTo>
                  <a:pt x="6423855" y="5808097"/>
                  <a:pt x="6423855" y="5808097"/>
                  <a:pt x="6423855" y="5808097"/>
                </a:cubicBezTo>
                <a:cubicBezTo>
                  <a:pt x="6417685" y="5810176"/>
                  <a:pt x="6411516" y="5816411"/>
                  <a:pt x="6407402" y="5822647"/>
                </a:cubicBezTo>
                <a:cubicBezTo>
                  <a:pt x="6407402" y="5824725"/>
                  <a:pt x="6407402" y="5824725"/>
                  <a:pt x="6407402" y="5824725"/>
                </a:cubicBezTo>
                <a:cubicBezTo>
                  <a:pt x="6411516" y="5839274"/>
                  <a:pt x="6421798" y="5855902"/>
                  <a:pt x="6434138" y="5870451"/>
                </a:cubicBezTo>
                <a:cubicBezTo>
                  <a:pt x="6432082" y="5870451"/>
                  <a:pt x="6421798" y="5885000"/>
                  <a:pt x="6419742" y="5887079"/>
                </a:cubicBezTo>
                <a:cubicBezTo>
                  <a:pt x="6405346" y="5878765"/>
                  <a:pt x="6386837" y="5874608"/>
                  <a:pt x="6370385" y="5874608"/>
                </a:cubicBezTo>
                <a:cubicBezTo>
                  <a:pt x="6368328" y="5874608"/>
                  <a:pt x="6368328" y="5874608"/>
                  <a:pt x="6368328" y="5874608"/>
                </a:cubicBezTo>
                <a:cubicBezTo>
                  <a:pt x="6364215" y="5878765"/>
                  <a:pt x="6360102" y="5887079"/>
                  <a:pt x="6358046" y="5893314"/>
                </a:cubicBezTo>
                <a:cubicBezTo>
                  <a:pt x="6358046" y="5895393"/>
                  <a:pt x="6358046" y="5895393"/>
                  <a:pt x="6358046" y="5895393"/>
                </a:cubicBezTo>
                <a:cubicBezTo>
                  <a:pt x="6366272" y="5909941"/>
                  <a:pt x="6378611" y="5922412"/>
                  <a:pt x="6395063" y="5932805"/>
                </a:cubicBezTo>
                <a:cubicBezTo>
                  <a:pt x="6393007" y="5934883"/>
                  <a:pt x="6386837" y="5949432"/>
                  <a:pt x="6386837" y="5951511"/>
                </a:cubicBezTo>
                <a:cubicBezTo>
                  <a:pt x="6368328" y="5947354"/>
                  <a:pt x="6349820" y="5947354"/>
                  <a:pt x="6335424" y="5951511"/>
                </a:cubicBezTo>
                <a:cubicBezTo>
                  <a:pt x="6333367" y="5951511"/>
                  <a:pt x="6333367" y="5951511"/>
                  <a:pt x="6333367" y="5951511"/>
                </a:cubicBezTo>
                <a:cubicBezTo>
                  <a:pt x="6333367" y="5953589"/>
                  <a:pt x="6333367" y="5953589"/>
                  <a:pt x="6333367" y="5953589"/>
                </a:cubicBezTo>
                <a:cubicBezTo>
                  <a:pt x="6331311" y="5959825"/>
                  <a:pt x="6329254" y="5968138"/>
                  <a:pt x="6327198" y="5974373"/>
                </a:cubicBezTo>
                <a:cubicBezTo>
                  <a:pt x="6329254" y="5976452"/>
                  <a:pt x="6329254" y="5976452"/>
                  <a:pt x="6329254" y="5976452"/>
                </a:cubicBezTo>
                <a:cubicBezTo>
                  <a:pt x="6339537" y="5986844"/>
                  <a:pt x="6355989" y="5997237"/>
                  <a:pt x="6372441" y="6001393"/>
                </a:cubicBezTo>
                <a:cubicBezTo>
                  <a:pt x="6372441" y="6003472"/>
                  <a:pt x="6370385" y="6022178"/>
                  <a:pt x="6370385" y="6024257"/>
                </a:cubicBezTo>
                <a:cubicBezTo>
                  <a:pt x="6351876" y="6024257"/>
                  <a:pt x="6333367" y="6028413"/>
                  <a:pt x="6321028" y="6036728"/>
                </a:cubicBezTo>
                <a:cubicBezTo>
                  <a:pt x="6318972" y="6036728"/>
                  <a:pt x="6318972" y="6036728"/>
                  <a:pt x="6318972" y="6036728"/>
                </a:cubicBezTo>
                <a:cubicBezTo>
                  <a:pt x="6318972" y="6038805"/>
                  <a:pt x="6318972" y="6038805"/>
                  <a:pt x="6318972" y="6038805"/>
                </a:cubicBezTo>
                <a:cubicBezTo>
                  <a:pt x="6318972" y="6040884"/>
                  <a:pt x="6318972" y="6045041"/>
                  <a:pt x="6318972" y="6049198"/>
                </a:cubicBezTo>
                <a:cubicBezTo>
                  <a:pt x="6318972" y="6053355"/>
                  <a:pt x="6318972" y="6057512"/>
                  <a:pt x="6318972" y="6059590"/>
                </a:cubicBezTo>
                <a:cubicBezTo>
                  <a:pt x="6318972" y="6061669"/>
                  <a:pt x="6318972" y="6061669"/>
                  <a:pt x="6318972" y="6061669"/>
                </a:cubicBezTo>
                <a:cubicBezTo>
                  <a:pt x="6321028" y="6061669"/>
                  <a:pt x="6321028" y="6061669"/>
                  <a:pt x="6321028" y="6061669"/>
                </a:cubicBezTo>
                <a:cubicBezTo>
                  <a:pt x="6333367" y="6069983"/>
                  <a:pt x="6351876" y="6074140"/>
                  <a:pt x="6370385" y="6074140"/>
                </a:cubicBezTo>
                <a:cubicBezTo>
                  <a:pt x="6370385" y="6078296"/>
                  <a:pt x="6372441" y="6094924"/>
                  <a:pt x="6374498" y="6097002"/>
                </a:cubicBezTo>
                <a:cubicBezTo>
                  <a:pt x="6355989" y="6103237"/>
                  <a:pt x="6339537" y="6111551"/>
                  <a:pt x="6329254" y="6124022"/>
                </a:cubicBezTo>
                <a:cubicBezTo>
                  <a:pt x="6327198" y="6124022"/>
                  <a:pt x="6327198" y="6124022"/>
                  <a:pt x="6327198" y="6124022"/>
                </a:cubicBezTo>
                <a:cubicBezTo>
                  <a:pt x="6327198" y="6126101"/>
                  <a:pt x="6327198" y="6126101"/>
                  <a:pt x="6327198" y="6126101"/>
                </a:cubicBezTo>
                <a:cubicBezTo>
                  <a:pt x="6329254" y="6132336"/>
                  <a:pt x="6331311" y="6140650"/>
                  <a:pt x="6333367" y="6146886"/>
                </a:cubicBezTo>
                <a:cubicBezTo>
                  <a:pt x="6335424" y="6146886"/>
                  <a:pt x="6335424" y="6146886"/>
                  <a:pt x="6335424" y="6146886"/>
                </a:cubicBezTo>
                <a:cubicBezTo>
                  <a:pt x="6349820" y="6153121"/>
                  <a:pt x="6370385" y="6151042"/>
                  <a:pt x="6386837" y="6146886"/>
                </a:cubicBezTo>
                <a:cubicBezTo>
                  <a:pt x="6386837" y="6148963"/>
                  <a:pt x="6395063" y="6165592"/>
                  <a:pt x="6395063" y="6167669"/>
                </a:cubicBezTo>
                <a:cubicBezTo>
                  <a:pt x="6380668" y="6175983"/>
                  <a:pt x="6366272" y="6190533"/>
                  <a:pt x="6358046" y="6205082"/>
                </a:cubicBezTo>
                <a:cubicBezTo>
                  <a:pt x="6358046" y="6207160"/>
                  <a:pt x="6358046" y="6207160"/>
                  <a:pt x="6358046" y="6207160"/>
                </a:cubicBezTo>
                <a:cubicBezTo>
                  <a:pt x="6360102" y="6211318"/>
                  <a:pt x="6366272" y="6219631"/>
                  <a:pt x="6370385" y="6225866"/>
                </a:cubicBezTo>
                <a:cubicBezTo>
                  <a:pt x="6386837" y="6225866"/>
                  <a:pt x="6405346" y="6221710"/>
                  <a:pt x="6421798" y="6211318"/>
                </a:cubicBezTo>
                <a:cubicBezTo>
                  <a:pt x="6421798" y="6213395"/>
                  <a:pt x="6432082" y="6227945"/>
                  <a:pt x="6434138" y="6230024"/>
                </a:cubicBezTo>
                <a:cubicBezTo>
                  <a:pt x="6421798" y="6242494"/>
                  <a:pt x="6411516" y="6259121"/>
                  <a:pt x="6407402" y="6275750"/>
                </a:cubicBezTo>
                <a:cubicBezTo>
                  <a:pt x="6409459" y="6277827"/>
                  <a:pt x="6409459" y="6277827"/>
                  <a:pt x="6409459" y="6277827"/>
                </a:cubicBezTo>
                <a:cubicBezTo>
                  <a:pt x="6411516" y="6281985"/>
                  <a:pt x="6419742" y="6288220"/>
                  <a:pt x="6423855" y="6292377"/>
                </a:cubicBezTo>
                <a:cubicBezTo>
                  <a:pt x="6425911" y="6292377"/>
                  <a:pt x="6425911" y="6292377"/>
                  <a:pt x="6425911" y="6292377"/>
                </a:cubicBezTo>
                <a:cubicBezTo>
                  <a:pt x="6440308" y="6288220"/>
                  <a:pt x="6456760" y="6279906"/>
                  <a:pt x="6471156" y="6265357"/>
                </a:cubicBezTo>
                <a:cubicBezTo>
                  <a:pt x="6473212" y="6267436"/>
                  <a:pt x="6485551" y="6277827"/>
                  <a:pt x="6487608" y="6279906"/>
                </a:cubicBezTo>
                <a:cubicBezTo>
                  <a:pt x="6479382" y="6296533"/>
                  <a:pt x="6475269" y="6313162"/>
                  <a:pt x="6475269" y="6329789"/>
                </a:cubicBezTo>
                <a:cubicBezTo>
                  <a:pt x="6475269" y="6329789"/>
                  <a:pt x="6475269" y="6331868"/>
                  <a:pt x="6475269" y="6331868"/>
                </a:cubicBezTo>
                <a:cubicBezTo>
                  <a:pt x="6479382" y="6336024"/>
                  <a:pt x="6487608" y="6340182"/>
                  <a:pt x="6493777" y="6342259"/>
                </a:cubicBezTo>
                <a:cubicBezTo>
                  <a:pt x="6493777" y="6344338"/>
                  <a:pt x="6493777" y="6344338"/>
                  <a:pt x="6493777" y="6344338"/>
                </a:cubicBezTo>
                <a:cubicBezTo>
                  <a:pt x="6495834" y="6342259"/>
                  <a:pt x="6495834" y="6342259"/>
                  <a:pt x="6495834" y="6342259"/>
                </a:cubicBezTo>
                <a:cubicBezTo>
                  <a:pt x="6510230" y="6333946"/>
                  <a:pt x="6522569" y="6321475"/>
                  <a:pt x="6532851" y="6304848"/>
                </a:cubicBezTo>
                <a:cubicBezTo>
                  <a:pt x="6534908" y="6306926"/>
                  <a:pt x="6549304" y="6313162"/>
                  <a:pt x="6551360" y="6313162"/>
                </a:cubicBezTo>
                <a:cubicBezTo>
                  <a:pt x="6549304" y="6321475"/>
                  <a:pt x="6549304" y="6331868"/>
                  <a:pt x="6549304" y="6340182"/>
                </a:cubicBezTo>
                <a:cubicBezTo>
                  <a:pt x="6549304" y="6348495"/>
                  <a:pt x="6549304" y="6358888"/>
                  <a:pt x="6551360" y="6365123"/>
                </a:cubicBezTo>
                <a:cubicBezTo>
                  <a:pt x="6551360" y="6367201"/>
                  <a:pt x="6551360" y="6367201"/>
                  <a:pt x="6551360" y="6367201"/>
                </a:cubicBezTo>
                <a:cubicBezTo>
                  <a:pt x="6553417" y="6367201"/>
                  <a:pt x="6553417" y="6367201"/>
                  <a:pt x="6553417" y="6367201"/>
                </a:cubicBezTo>
                <a:cubicBezTo>
                  <a:pt x="6557530" y="6369280"/>
                  <a:pt x="6567812" y="6371358"/>
                  <a:pt x="6573982" y="6373436"/>
                </a:cubicBezTo>
                <a:cubicBezTo>
                  <a:pt x="6576039" y="6373436"/>
                  <a:pt x="6576039" y="6373436"/>
                  <a:pt x="6576039" y="6373436"/>
                </a:cubicBezTo>
                <a:cubicBezTo>
                  <a:pt x="6586321" y="6360966"/>
                  <a:pt x="6596604" y="6344338"/>
                  <a:pt x="6600717" y="6327711"/>
                </a:cubicBezTo>
                <a:cubicBezTo>
                  <a:pt x="6602773" y="6327711"/>
                  <a:pt x="6621282" y="6329789"/>
                  <a:pt x="6623339" y="6329789"/>
                </a:cubicBezTo>
                <a:cubicBezTo>
                  <a:pt x="6623339" y="6348495"/>
                  <a:pt x="6627452" y="6367201"/>
                  <a:pt x="6635678" y="6381750"/>
                </a:cubicBezTo>
                <a:cubicBezTo>
                  <a:pt x="6637734" y="6381750"/>
                  <a:pt x="6637734" y="6381750"/>
                  <a:pt x="6637734" y="6381750"/>
                </a:cubicBezTo>
                <a:cubicBezTo>
                  <a:pt x="6643904" y="6381750"/>
                  <a:pt x="6654187" y="6381750"/>
                  <a:pt x="6658300" y="6381750"/>
                </a:cubicBezTo>
                <a:cubicBezTo>
                  <a:pt x="6660357" y="6381750"/>
                  <a:pt x="6660357" y="6381750"/>
                  <a:pt x="6660357" y="6381750"/>
                </a:cubicBezTo>
                <a:cubicBezTo>
                  <a:pt x="6668583" y="6367201"/>
                  <a:pt x="6672696" y="6348495"/>
                  <a:pt x="6674753" y="6329789"/>
                </a:cubicBezTo>
                <a:cubicBezTo>
                  <a:pt x="6676809" y="6329789"/>
                  <a:pt x="6693261" y="6327711"/>
                  <a:pt x="6695318" y="6327711"/>
                </a:cubicBezTo>
                <a:cubicBezTo>
                  <a:pt x="6699431" y="6344338"/>
                  <a:pt x="6709714" y="6360966"/>
                  <a:pt x="6722053" y="6373436"/>
                </a:cubicBezTo>
                <a:cubicBezTo>
                  <a:pt x="6728222" y="6371358"/>
                  <a:pt x="6738505" y="6369280"/>
                  <a:pt x="6742618" y="6367201"/>
                </a:cubicBezTo>
                <a:cubicBezTo>
                  <a:pt x="6744675" y="6367201"/>
                  <a:pt x="6744675" y="6367201"/>
                  <a:pt x="6744675" y="6367201"/>
                </a:cubicBezTo>
                <a:cubicBezTo>
                  <a:pt x="6746731" y="6358888"/>
                  <a:pt x="6746731" y="6348495"/>
                  <a:pt x="6746731" y="6340182"/>
                </a:cubicBezTo>
                <a:cubicBezTo>
                  <a:pt x="6746731" y="6331868"/>
                  <a:pt x="6746731" y="6321475"/>
                  <a:pt x="6744675" y="6313162"/>
                </a:cubicBezTo>
                <a:cubicBezTo>
                  <a:pt x="6746731" y="6313162"/>
                  <a:pt x="6763183" y="6306926"/>
                  <a:pt x="6765240" y="6304848"/>
                </a:cubicBezTo>
                <a:cubicBezTo>
                  <a:pt x="6773466" y="6321475"/>
                  <a:pt x="6787862" y="6333946"/>
                  <a:pt x="6802257" y="6342259"/>
                </a:cubicBezTo>
                <a:cubicBezTo>
                  <a:pt x="6808427" y="6340182"/>
                  <a:pt x="6816653" y="6336024"/>
                  <a:pt x="6820766" y="6331868"/>
                </a:cubicBezTo>
                <a:cubicBezTo>
                  <a:pt x="6822823" y="6329789"/>
                  <a:pt x="6822823" y="6329789"/>
                  <a:pt x="6822823" y="6329789"/>
                </a:cubicBezTo>
                <a:cubicBezTo>
                  <a:pt x="6822823" y="6329789"/>
                  <a:pt x="6822823" y="6329789"/>
                  <a:pt x="6822823" y="6327711"/>
                </a:cubicBezTo>
                <a:cubicBezTo>
                  <a:pt x="6822823" y="6313162"/>
                  <a:pt x="6816653" y="6294456"/>
                  <a:pt x="6808427" y="6279906"/>
                </a:cubicBezTo>
                <a:cubicBezTo>
                  <a:pt x="6810484" y="6277827"/>
                  <a:pt x="6822823" y="6267436"/>
                  <a:pt x="6824879" y="6265357"/>
                </a:cubicBezTo>
                <a:cubicBezTo>
                  <a:pt x="6839275" y="6277827"/>
                  <a:pt x="6855727" y="6288220"/>
                  <a:pt x="6870123" y="6292377"/>
                </a:cubicBezTo>
                <a:cubicBezTo>
                  <a:pt x="6872180" y="6292377"/>
                  <a:pt x="6872180" y="6292377"/>
                  <a:pt x="6872180" y="6292377"/>
                </a:cubicBezTo>
                <a:cubicBezTo>
                  <a:pt x="6876293" y="6288220"/>
                  <a:pt x="6884519" y="6281985"/>
                  <a:pt x="6886576" y="6275750"/>
                </a:cubicBezTo>
                <a:cubicBezTo>
                  <a:pt x="6888632" y="6275750"/>
                  <a:pt x="6888632" y="6275750"/>
                  <a:pt x="6888632" y="6275750"/>
                </a:cubicBezTo>
                <a:cubicBezTo>
                  <a:pt x="6884519" y="6259121"/>
                  <a:pt x="6874236" y="6242494"/>
                  <a:pt x="6861897" y="6230024"/>
                </a:cubicBezTo>
                <a:cubicBezTo>
                  <a:pt x="6863954" y="6227945"/>
                  <a:pt x="6874236" y="6213395"/>
                  <a:pt x="6874236" y="6211318"/>
                </a:cubicBezTo>
                <a:cubicBezTo>
                  <a:pt x="6890689" y="6219631"/>
                  <a:pt x="6909198" y="6225866"/>
                  <a:pt x="6925650" y="6225866"/>
                </a:cubicBezTo>
                <a:cubicBezTo>
                  <a:pt x="6927706" y="6223788"/>
                  <a:pt x="6927706" y="6223788"/>
                  <a:pt x="6927706" y="6223788"/>
                </a:cubicBezTo>
                <a:cubicBezTo>
                  <a:pt x="6929763" y="6219631"/>
                  <a:pt x="6935933" y="6211318"/>
                  <a:pt x="6937989" y="6205082"/>
                </a:cubicBezTo>
                <a:cubicBezTo>
                  <a:pt x="6937989" y="6203004"/>
                  <a:pt x="6937989" y="6203004"/>
                  <a:pt x="6937989" y="6203004"/>
                </a:cubicBezTo>
                <a:cubicBezTo>
                  <a:pt x="6929763" y="6190533"/>
                  <a:pt x="6915367" y="6175983"/>
                  <a:pt x="6900972" y="6167669"/>
                </a:cubicBezTo>
                <a:cubicBezTo>
                  <a:pt x="6900972" y="6163513"/>
                  <a:pt x="6909198" y="6148963"/>
                  <a:pt x="6909198" y="6146886"/>
                </a:cubicBezTo>
                <a:cubicBezTo>
                  <a:pt x="6925650" y="6151042"/>
                  <a:pt x="6944159" y="6151042"/>
                  <a:pt x="6960611" y="6146886"/>
                </a:cubicBezTo>
                <a:cubicBezTo>
                  <a:pt x="6962667" y="6146886"/>
                  <a:pt x="6962667" y="6146886"/>
                  <a:pt x="6962667" y="6146886"/>
                </a:cubicBezTo>
                <a:cubicBezTo>
                  <a:pt x="6964724" y="6140650"/>
                  <a:pt x="6966781" y="6132336"/>
                  <a:pt x="6966781" y="6126101"/>
                </a:cubicBezTo>
                <a:cubicBezTo>
                  <a:pt x="6966781" y="6124022"/>
                  <a:pt x="6966781" y="6124022"/>
                  <a:pt x="6966781" y="6124022"/>
                </a:cubicBezTo>
                <a:cubicBezTo>
                  <a:pt x="6956498" y="6111551"/>
                  <a:pt x="6940046" y="6103237"/>
                  <a:pt x="6921537" y="6097002"/>
                </a:cubicBezTo>
                <a:cubicBezTo>
                  <a:pt x="6923593" y="6094924"/>
                  <a:pt x="6925650" y="6078296"/>
                  <a:pt x="6925650" y="6076218"/>
                </a:cubicBezTo>
                <a:cubicBezTo>
                  <a:pt x="6944159" y="6076218"/>
                  <a:pt x="6962667" y="6069983"/>
                  <a:pt x="6975007" y="6061669"/>
                </a:cubicBezTo>
                <a:cubicBezTo>
                  <a:pt x="6977063" y="6061669"/>
                  <a:pt x="6977063" y="6061669"/>
                  <a:pt x="6977063" y="6061669"/>
                </a:cubicBezTo>
                <a:cubicBezTo>
                  <a:pt x="6977063" y="6057512"/>
                  <a:pt x="6977063" y="6053355"/>
                  <a:pt x="6977063" y="6049198"/>
                </a:cubicBezTo>
                <a:cubicBezTo>
                  <a:pt x="6977063" y="6047119"/>
                  <a:pt x="6977063" y="6042963"/>
                  <a:pt x="6977063" y="6038805"/>
                </a:cubicBezTo>
                <a:cubicBezTo>
                  <a:pt x="6975007" y="6038805"/>
                  <a:pt x="6975007" y="6038805"/>
                  <a:pt x="6975007" y="6038805"/>
                </a:cubicBezTo>
                <a:cubicBezTo>
                  <a:pt x="6962667" y="6030492"/>
                  <a:pt x="6944159" y="6024257"/>
                  <a:pt x="6925650" y="6024257"/>
                </a:cubicBezTo>
                <a:cubicBezTo>
                  <a:pt x="6925650" y="6022178"/>
                  <a:pt x="6923593" y="6005551"/>
                  <a:pt x="6923593" y="6003472"/>
                </a:cubicBezTo>
                <a:cubicBezTo>
                  <a:pt x="6940046" y="5997237"/>
                  <a:pt x="6956498" y="5988923"/>
                  <a:pt x="6966781" y="5976452"/>
                </a:cubicBezTo>
                <a:cubicBezTo>
                  <a:pt x="6968837" y="5976452"/>
                  <a:pt x="6968837" y="5976452"/>
                  <a:pt x="6968837" y="5976452"/>
                </a:cubicBezTo>
                <a:cubicBezTo>
                  <a:pt x="6968837" y="5974373"/>
                  <a:pt x="6968837" y="5974373"/>
                  <a:pt x="6968837" y="5974373"/>
                </a:cubicBezTo>
                <a:cubicBezTo>
                  <a:pt x="6966781" y="5968138"/>
                  <a:pt x="6964724" y="5959825"/>
                  <a:pt x="6962667" y="5953589"/>
                </a:cubicBezTo>
                <a:cubicBezTo>
                  <a:pt x="6960611" y="5953589"/>
                  <a:pt x="6960611" y="5953589"/>
                  <a:pt x="6960611" y="5953589"/>
                </a:cubicBezTo>
                <a:cubicBezTo>
                  <a:pt x="6946215" y="5947354"/>
                  <a:pt x="6927706" y="5949432"/>
                  <a:pt x="6909198" y="5953589"/>
                </a:cubicBezTo>
                <a:cubicBezTo>
                  <a:pt x="6909198" y="5951511"/>
                  <a:pt x="6903028" y="5934883"/>
                  <a:pt x="6900972" y="5932805"/>
                </a:cubicBezTo>
                <a:cubicBezTo>
                  <a:pt x="6917424" y="5924491"/>
                  <a:pt x="6929763" y="5909941"/>
                  <a:pt x="6937989" y="5895393"/>
                </a:cubicBezTo>
                <a:cubicBezTo>
                  <a:pt x="6937989" y="5893314"/>
                  <a:pt x="6937989" y="5893314"/>
                  <a:pt x="6937989" y="5893314"/>
                </a:cubicBezTo>
                <a:cubicBezTo>
                  <a:pt x="6935933" y="5889157"/>
                  <a:pt x="6931820" y="5880843"/>
                  <a:pt x="6927706" y="5874608"/>
                </a:cubicBezTo>
                <a:cubicBezTo>
                  <a:pt x="6925650" y="5874608"/>
                  <a:pt x="6925650" y="5874608"/>
                  <a:pt x="6925650" y="5874608"/>
                </a:cubicBezTo>
                <a:cubicBezTo>
                  <a:pt x="6909198" y="5874608"/>
                  <a:pt x="6890689" y="5878765"/>
                  <a:pt x="6876293" y="5887079"/>
                </a:cubicBezTo>
                <a:cubicBezTo>
                  <a:pt x="6874236" y="5887079"/>
                  <a:pt x="6863954" y="5872529"/>
                  <a:pt x="6861897" y="5870451"/>
                </a:cubicBezTo>
                <a:cubicBezTo>
                  <a:pt x="6874236" y="5857980"/>
                  <a:pt x="6884519" y="5841353"/>
                  <a:pt x="6888632" y="5824725"/>
                </a:cubicBezTo>
                <a:cubicBezTo>
                  <a:pt x="6888632" y="5822647"/>
                  <a:pt x="6888632" y="5822647"/>
                  <a:pt x="6888632" y="5822647"/>
                </a:cubicBezTo>
                <a:cubicBezTo>
                  <a:pt x="6884519" y="5818490"/>
                  <a:pt x="6878350" y="5812254"/>
                  <a:pt x="6872180" y="5808097"/>
                </a:cubicBezTo>
                <a:cubicBezTo>
                  <a:pt x="6855727" y="5812254"/>
                  <a:pt x="6839275" y="5820568"/>
                  <a:pt x="6826936" y="5833039"/>
                </a:cubicBezTo>
                <a:cubicBezTo>
                  <a:pt x="6824879" y="5833039"/>
                  <a:pt x="6810484" y="5822647"/>
                  <a:pt x="6808427" y="5820568"/>
                </a:cubicBezTo>
                <a:cubicBezTo>
                  <a:pt x="6818710" y="5803941"/>
                  <a:pt x="6822823" y="5787313"/>
                  <a:pt x="6822823" y="5770685"/>
                </a:cubicBezTo>
                <a:cubicBezTo>
                  <a:pt x="6822823" y="5770685"/>
                  <a:pt x="6822823" y="5768607"/>
                  <a:pt x="6822823" y="5768607"/>
                </a:cubicBezTo>
                <a:cubicBezTo>
                  <a:pt x="6816653" y="5764450"/>
                  <a:pt x="6808427" y="5760293"/>
                  <a:pt x="6804314" y="5758215"/>
                </a:cubicBezTo>
                <a:cubicBezTo>
                  <a:pt x="6802257" y="5756136"/>
                  <a:pt x="6802257" y="5756136"/>
                  <a:pt x="6802257" y="5756136"/>
                </a:cubicBezTo>
                <a:cubicBezTo>
                  <a:pt x="6802257" y="5758215"/>
                  <a:pt x="6802257" y="5758215"/>
                  <a:pt x="6802257" y="5758215"/>
                </a:cubicBezTo>
                <a:cubicBezTo>
                  <a:pt x="6787862" y="5764450"/>
                  <a:pt x="6775523" y="5778999"/>
                  <a:pt x="6765240" y="5793548"/>
                </a:cubicBezTo>
                <a:cubicBezTo>
                  <a:pt x="6763183" y="5793548"/>
                  <a:pt x="6746731" y="5787313"/>
                  <a:pt x="6744675" y="5785235"/>
                </a:cubicBezTo>
                <a:cubicBezTo>
                  <a:pt x="6746731" y="5776921"/>
                  <a:pt x="6748788" y="5768607"/>
                  <a:pt x="6748788" y="5758215"/>
                </a:cubicBezTo>
                <a:cubicBezTo>
                  <a:pt x="6748788" y="5749901"/>
                  <a:pt x="6746731" y="5741587"/>
                  <a:pt x="6744675" y="5733273"/>
                </a:cubicBezTo>
                <a:cubicBezTo>
                  <a:pt x="6744675" y="5731195"/>
                  <a:pt x="6744675" y="5731195"/>
                  <a:pt x="6744675" y="5731195"/>
                </a:cubicBezTo>
                <a:cubicBezTo>
                  <a:pt x="6742618" y="5731195"/>
                  <a:pt x="6742618" y="5731195"/>
                  <a:pt x="6742618" y="5731195"/>
                </a:cubicBezTo>
                <a:cubicBezTo>
                  <a:pt x="6738505" y="5729116"/>
                  <a:pt x="6730279" y="5727038"/>
                  <a:pt x="6722053" y="5727038"/>
                </a:cubicBezTo>
                <a:cubicBezTo>
                  <a:pt x="6709714" y="5737430"/>
                  <a:pt x="6699431" y="5754058"/>
                  <a:pt x="6695318" y="5772764"/>
                </a:cubicBezTo>
                <a:cubicBezTo>
                  <a:pt x="6693261" y="5770685"/>
                  <a:pt x="6676809" y="5768607"/>
                  <a:pt x="6672696" y="5768607"/>
                </a:cubicBezTo>
                <a:cubicBezTo>
                  <a:pt x="6672696" y="5751979"/>
                  <a:pt x="6668583" y="5733273"/>
                  <a:pt x="6660357" y="5718724"/>
                </a:cubicBezTo>
                <a:cubicBezTo>
                  <a:pt x="6658300" y="5718724"/>
                  <a:pt x="6658300" y="5718724"/>
                  <a:pt x="6658300" y="5718724"/>
                </a:cubicBezTo>
                <a:cubicBezTo>
                  <a:pt x="6652131" y="5716645"/>
                  <a:pt x="6643904" y="5716645"/>
                  <a:pt x="6637734" y="5718724"/>
                </a:cubicBezTo>
                <a:cubicBezTo>
                  <a:pt x="6635678" y="5718724"/>
                  <a:pt x="6635678" y="5718724"/>
                  <a:pt x="6635678" y="5718724"/>
                </a:cubicBezTo>
                <a:close/>
                <a:moveTo>
                  <a:pt x="0" y="0"/>
                </a:moveTo>
                <a:lnTo>
                  <a:pt x="12192000" y="0"/>
                </a:lnTo>
                <a:lnTo>
                  <a:pt x="12192000" y="6858000"/>
                </a:lnTo>
                <a:lnTo>
                  <a:pt x="4539049" y="6858000"/>
                </a:lnTo>
                <a:lnTo>
                  <a:pt x="0" y="6858000"/>
                </a:lnTo>
                <a:lnTo>
                  <a:pt x="0" y="6273113"/>
                </a:lnTo>
                <a:close/>
              </a:path>
            </a:pathLst>
          </a:custGeom>
          <a:solidFill>
            <a:srgbClr val="48595D">
              <a:alpha val="70000"/>
            </a:srgbClr>
          </a:solidFill>
        </p:spPr>
        <p:txBody>
          <a:bodyPr wrap="square" tIns="3474720">
            <a:noAutofit/>
          </a:bodyPr>
          <a:lstStyle>
            <a:lvl1pPr marL="0" indent="0" algn="ctr">
              <a:buNone/>
              <a:defRPr sz="4400" b="1" cap="all" baseline="0">
                <a:solidFill>
                  <a:schemeClr val="bg1"/>
                </a:solidFill>
                <a:latin typeface="+mj-lt"/>
              </a:defRPr>
            </a:lvl1pPr>
            <a:lvl2pPr marL="0" indent="0" algn="ctr">
              <a:buNone/>
              <a:defRPr sz="2000">
                <a:solidFill>
                  <a:schemeClr val="bg1"/>
                </a:solidFill>
              </a:defRPr>
            </a:lvl2pPr>
            <a:lvl3pPr>
              <a:defRPr sz="1800"/>
            </a:lvl3pPr>
            <a:lvl4pPr>
              <a:defRPr sz="1600"/>
            </a:lvl4pPr>
            <a:lvl5pPr>
              <a:defRPr sz="1600"/>
            </a:lvl5pPr>
          </a:lstStyle>
          <a:p>
            <a:pPr lvl="0"/>
            <a:r>
              <a:rPr lang="en-US"/>
              <a:t>Title</a:t>
            </a:r>
          </a:p>
        </p:txBody>
      </p:sp>
      <p:sp>
        <p:nvSpPr>
          <p:cNvPr id="3" name="Subtitle 2">
            <a:extLst>
              <a:ext uri="{FF2B5EF4-FFF2-40B4-BE49-F238E27FC236}">
                <a16:creationId xmlns:a16="http://schemas.microsoft.com/office/drawing/2014/main" id="{68C54DFB-92F7-41E0-897D-1D2F9A85707F}"/>
              </a:ext>
            </a:extLst>
          </p:cNvPr>
          <p:cNvSpPr>
            <a:spLocks noGrp="1"/>
          </p:cNvSpPr>
          <p:nvPr>
            <p:ph type="subTitle" idx="1"/>
          </p:nvPr>
        </p:nvSpPr>
        <p:spPr>
          <a:xfrm>
            <a:off x="829733" y="4174066"/>
            <a:ext cx="10532534" cy="465667"/>
          </a:xfrm>
        </p:spPr>
        <p:txBody>
          <a:bodyPr/>
          <a:lstStyle>
            <a:lvl1pPr marL="0" indent="0" algn="ctr">
              <a:buNone/>
              <a:defRPr sz="2400">
                <a:solidFill>
                  <a:srgbClr val="01B0E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Slide Number Placeholder 5">
            <a:extLst>
              <a:ext uri="{FF2B5EF4-FFF2-40B4-BE49-F238E27FC236}">
                <a16:creationId xmlns:a16="http://schemas.microsoft.com/office/drawing/2014/main" id="{5130B4A2-183C-4739-A12D-8649A5A9BAC2}"/>
              </a:ext>
            </a:extLst>
          </p:cNvPr>
          <p:cNvSpPr>
            <a:spLocks noGrp="1"/>
          </p:cNvSpPr>
          <p:nvPr>
            <p:ph type="sldNum" sz="quarter" idx="12"/>
          </p:nvPr>
        </p:nvSpPr>
        <p:spPr>
          <a:xfrm>
            <a:off x="11650133" y="115570"/>
            <a:ext cx="423334" cy="365125"/>
          </a:xfrm>
        </p:spPr>
        <p:txBody>
          <a:bodyPr vert="horz" lIns="91440" tIns="45720" rIns="91440" bIns="45720" rtlCol="0" anchor="ctr"/>
          <a:lstStyle>
            <a:lvl1pPr>
              <a:defRPr lang="en-US" smtClean="0">
                <a:solidFill>
                  <a:schemeClr val="bg1"/>
                </a:solidFill>
              </a:defRPr>
            </a:lvl1pPr>
          </a:lstStyle>
          <a:p>
            <a:fld id="{97A94E25-127B-4C48-AF96-44BA7B823777}" type="slidenum">
              <a:rPr lang="en-US" smtClean="0"/>
              <a:pPr/>
              <a:t>‹N°›</a:t>
            </a:fld>
            <a:endParaRPr lang="en-US" dirty="0"/>
          </a:p>
        </p:txBody>
      </p:sp>
    </p:spTree>
    <p:extLst>
      <p:ext uri="{BB962C8B-B14F-4D97-AF65-F5344CB8AC3E}">
        <p14:creationId xmlns:p14="http://schemas.microsoft.com/office/powerpoint/2010/main" val="4198512606"/>
      </p:ext>
    </p:extLst>
  </p:cSld>
  <p:clrMapOvr>
    <a:masterClrMapping/>
  </p:clrMapOvr>
  <p:extLst>
    <p:ext uri="{DCECCB84-F9BA-43D5-87BE-67443E8EF086}">
      <p15:sldGuideLst xmlns:p15="http://schemas.microsoft.com/office/powerpoint/2012/main">
        <p15:guide id="1" orient="horz" pos="249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6B15CEA-7F4D-4111-91E1-C24BB8942014}"/>
              </a:ext>
            </a:extLst>
          </p:cNvPr>
          <p:cNvSpPr/>
          <p:nvPr userDrawn="1"/>
        </p:nvSpPr>
        <p:spPr>
          <a:xfrm flipV="1">
            <a:off x="0" y="0"/>
            <a:ext cx="12192000" cy="1540042"/>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B110B65-104E-48DA-9FDA-01FF9A48E841}"/>
              </a:ext>
            </a:extLst>
          </p:cNvPr>
          <p:cNvSpPr>
            <a:spLocks noGrp="1"/>
          </p:cNvSpPr>
          <p:nvPr>
            <p:ph type="title"/>
          </p:nvPr>
        </p:nvSpPr>
        <p:spPr>
          <a:xfrm>
            <a:off x="381000" y="1"/>
            <a:ext cx="11506200" cy="1540042"/>
          </a:xfrm>
        </p:spPr>
        <p:txBody>
          <a:bodyPr tIns="0" bIns="91440" anchor="b"/>
          <a:lstStyle>
            <a:lvl1pPr>
              <a:defRPr cap="all" baseline="0">
                <a:solidFill>
                  <a:schemeClr val="bg1"/>
                </a:solidFill>
              </a:defRPr>
            </a:lvl1pPr>
          </a:lstStyle>
          <a:p>
            <a:r>
              <a:rPr lang="en-US" dirty="0"/>
              <a:t>Click to edit Master title style</a:t>
            </a:r>
          </a:p>
        </p:txBody>
      </p:sp>
      <p:sp>
        <p:nvSpPr>
          <p:cNvPr id="10" name="Content Placeholder 2">
            <a:extLst>
              <a:ext uri="{FF2B5EF4-FFF2-40B4-BE49-F238E27FC236}">
                <a16:creationId xmlns:a16="http://schemas.microsoft.com/office/drawing/2014/main" id="{9A633E9E-2A95-4274-8C9E-B12F3C8F05DB}"/>
              </a:ext>
            </a:extLst>
          </p:cNvPr>
          <p:cNvSpPr>
            <a:spLocks noGrp="1"/>
          </p:cNvSpPr>
          <p:nvPr>
            <p:ph idx="1"/>
          </p:nvPr>
        </p:nvSpPr>
        <p:spPr>
          <a:xfrm>
            <a:off x="380999" y="2436811"/>
            <a:ext cx="11506199" cy="3836989"/>
          </a:xfrm>
        </p:spPr>
        <p:txBody>
          <a:bodyPr>
            <a:normAutofit/>
          </a:bodyPr>
          <a:lstStyle>
            <a:lvl1pPr>
              <a:defRPr sz="2400">
                <a:solidFill>
                  <a:srgbClr val="333333"/>
                </a:solidFill>
              </a:defRPr>
            </a:lvl1pPr>
            <a:lvl2pPr marL="457200" indent="-228600">
              <a:defRPr sz="2000">
                <a:solidFill>
                  <a:srgbClr val="333333"/>
                </a:solidFill>
              </a:defRPr>
            </a:lvl2pPr>
            <a:lvl3pPr marL="685800" indent="-228600">
              <a:defRPr sz="1800">
                <a:solidFill>
                  <a:srgbClr val="333333"/>
                </a:solidFill>
              </a:defRPr>
            </a:lvl3pPr>
            <a:lvl4pPr marL="914400" indent="-228600">
              <a:defRPr sz="1600">
                <a:solidFill>
                  <a:srgbClr val="333333"/>
                </a:solidFill>
              </a:defRPr>
            </a:lvl4pPr>
            <a:lvl5pPr marL="1143000" indent="-228600">
              <a:defRPr sz="1600">
                <a:solidFill>
                  <a:srgbClr val="33333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ubtitle 2">
            <a:extLst>
              <a:ext uri="{FF2B5EF4-FFF2-40B4-BE49-F238E27FC236}">
                <a16:creationId xmlns:a16="http://schemas.microsoft.com/office/drawing/2014/main" id="{11B1EC5A-E690-43D2-A0E3-D50BD6A53AFE}"/>
              </a:ext>
            </a:extLst>
          </p:cNvPr>
          <p:cNvSpPr>
            <a:spLocks noGrp="1"/>
          </p:cNvSpPr>
          <p:nvPr>
            <p:ph type="subTitle" idx="13"/>
          </p:nvPr>
        </p:nvSpPr>
        <p:spPr>
          <a:xfrm>
            <a:off x="380999" y="1796132"/>
            <a:ext cx="11506199" cy="615279"/>
          </a:xfrm>
        </p:spPr>
        <p:txBody>
          <a:bodyPr>
            <a:normAutofit/>
          </a:bodyPr>
          <a:lstStyle>
            <a:lvl1pPr marL="0" indent="0" algn="l">
              <a:buNone/>
              <a:defRPr sz="2400" b="1" cap="all" baseline="0">
                <a:solidFill>
                  <a:srgbClr val="333333"/>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extBox 6" hidden="1">
            <a:extLst>
              <a:ext uri="{FF2B5EF4-FFF2-40B4-BE49-F238E27FC236}">
                <a16:creationId xmlns:a16="http://schemas.microsoft.com/office/drawing/2014/main" id="{C429B5C5-40F0-413F-82DE-781C809F82A3}"/>
              </a:ext>
            </a:extLst>
          </p:cNvPr>
          <p:cNvSpPr txBox="1"/>
          <p:nvPr userDrawn="1"/>
        </p:nvSpPr>
        <p:spPr>
          <a:xfrm>
            <a:off x="0" y="6673334"/>
            <a:ext cx="9144000" cy="184666"/>
          </a:xfrm>
          <a:prstGeom prst="rect">
            <a:avLst/>
          </a:prstGeom>
          <a:noFill/>
        </p:spPr>
        <p:txBody>
          <a:bodyPr wrap="square" rtlCol="0">
            <a:spAutoFit/>
          </a:bodyPr>
          <a:lstStyle/>
          <a:p>
            <a:r>
              <a:rPr lang="en-US" sz="600" dirty="0">
                <a:solidFill>
                  <a:schemeClr val="bg2">
                    <a:lumMod val="75000"/>
                  </a:schemeClr>
                </a:solidFill>
              </a:rPr>
              <a:t>© 2019 Rotary International. Internal Use Only. Not For Distribution. Private and Confidential.</a:t>
            </a:r>
          </a:p>
        </p:txBody>
      </p:sp>
      <p:sp>
        <p:nvSpPr>
          <p:cNvPr id="9" name="Slide Number Placeholder 5">
            <a:extLst>
              <a:ext uri="{FF2B5EF4-FFF2-40B4-BE49-F238E27FC236}">
                <a16:creationId xmlns:a16="http://schemas.microsoft.com/office/drawing/2014/main" id="{FD10926E-D815-4592-97B7-8EE7A9786ACB}"/>
              </a:ext>
            </a:extLst>
          </p:cNvPr>
          <p:cNvSpPr>
            <a:spLocks noGrp="1"/>
          </p:cNvSpPr>
          <p:nvPr>
            <p:ph type="sldNum" sz="quarter" idx="12"/>
          </p:nvPr>
        </p:nvSpPr>
        <p:spPr>
          <a:xfrm>
            <a:off x="11650133" y="115570"/>
            <a:ext cx="423334" cy="365125"/>
          </a:xfrm>
        </p:spPr>
        <p:txBody>
          <a:bodyPr vert="horz" lIns="91440" tIns="45720" rIns="91440" bIns="45720" rtlCol="0" anchor="ctr"/>
          <a:lstStyle>
            <a:lvl1pPr>
              <a:defRPr lang="en-US" smtClean="0">
                <a:solidFill>
                  <a:schemeClr val="tx1"/>
                </a:solidFill>
              </a:defRPr>
            </a:lvl1pPr>
          </a:lstStyle>
          <a:p>
            <a:fld id="{97A94E25-127B-4C48-AF96-44BA7B823777}" type="slidenum">
              <a:rPr lang="en-US" smtClean="0"/>
              <a:pPr/>
              <a:t>‹N°›</a:t>
            </a:fld>
            <a:endParaRPr lang="en-US" dirty="0"/>
          </a:p>
        </p:txBody>
      </p:sp>
    </p:spTree>
    <p:extLst>
      <p:ext uri="{BB962C8B-B14F-4D97-AF65-F5344CB8AC3E}">
        <p14:creationId xmlns:p14="http://schemas.microsoft.com/office/powerpoint/2010/main" val="38756265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lide Number Placeholder 5"/>
          <p:cNvSpPr>
            <a:spLocks noGrp="1"/>
          </p:cNvSpPr>
          <p:nvPr>
            <p:ph type="sldNum" sz="quarter" idx="11"/>
          </p:nvPr>
        </p:nvSpPr>
        <p:spPr/>
        <p:txBody>
          <a:bodyPr/>
          <a:lstStyle>
            <a:lvl1pPr defTabSz="914400">
              <a:defRPr/>
            </a:lvl1pPr>
          </a:lstStyle>
          <a:p>
            <a:pPr>
              <a:defRPr/>
            </a:pPr>
            <a:fld id="{3445BD1D-7F01-4766-9D76-15116978EDA8}" type="slidenum">
              <a:rPr lang="en-US"/>
              <a:pPr>
                <a:defRPr/>
              </a:pPr>
              <a:t>‹N°›</a:t>
            </a:fld>
            <a:endParaRPr lang="en-US" dirty="0"/>
          </a:p>
        </p:txBody>
      </p:sp>
    </p:spTree>
    <p:extLst>
      <p:ext uri="{BB962C8B-B14F-4D97-AF65-F5344CB8AC3E}">
        <p14:creationId xmlns:p14="http://schemas.microsoft.com/office/powerpoint/2010/main" val="6721601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Slide Number Placeholder 5"/>
          <p:cNvSpPr>
            <a:spLocks noGrp="1"/>
          </p:cNvSpPr>
          <p:nvPr>
            <p:ph type="sldNum" sz="quarter" idx="11"/>
          </p:nvPr>
        </p:nvSpPr>
        <p:spPr/>
        <p:txBody>
          <a:bodyPr/>
          <a:lstStyle>
            <a:lvl1pPr defTabSz="914400">
              <a:defRPr/>
            </a:lvl1pPr>
          </a:lstStyle>
          <a:p>
            <a:pPr>
              <a:defRPr/>
            </a:pPr>
            <a:fld id="{9B8F7D12-62DE-453E-A7D6-231232E39030}" type="slidenum">
              <a:rPr lang="en-US"/>
              <a:pPr>
                <a:defRPr/>
              </a:pPr>
              <a:t>‹N°›</a:t>
            </a:fld>
            <a:endParaRPr lang="en-US" dirty="0"/>
          </a:p>
        </p:txBody>
      </p:sp>
    </p:spTree>
    <p:extLst>
      <p:ext uri="{BB962C8B-B14F-4D97-AF65-F5344CB8AC3E}">
        <p14:creationId xmlns:p14="http://schemas.microsoft.com/office/powerpoint/2010/main" val="37673939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B7B73-BD1C-4B9C-B436-1503E9DFE39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7B985E6-193A-4DE1-864D-6BF29B3B433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0D91ECE-8418-4A8A-8D82-B91C36FECF61}"/>
              </a:ext>
            </a:extLst>
          </p:cNvPr>
          <p:cNvSpPr>
            <a:spLocks noGrp="1"/>
          </p:cNvSpPr>
          <p:nvPr>
            <p:ph type="dt" sz="half" idx="10"/>
          </p:nvPr>
        </p:nvSpPr>
        <p:spPr/>
        <p:txBody>
          <a:bodyPr/>
          <a:lstStyle/>
          <a:p>
            <a:fld id="{CD5C7893-49CE-480E-8E0A-E431E7B609A8}" type="datetimeFigureOut">
              <a:rPr lang="en-GB" smtClean="0"/>
              <a:t>19/10/2022</a:t>
            </a:fld>
            <a:endParaRPr lang="en-GB"/>
          </a:p>
        </p:txBody>
      </p:sp>
      <p:sp>
        <p:nvSpPr>
          <p:cNvPr id="5" name="Footer Placeholder 4">
            <a:extLst>
              <a:ext uri="{FF2B5EF4-FFF2-40B4-BE49-F238E27FC236}">
                <a16:creationId xmlns:a16="http://schemas.microsoft.com/office/drawing/2014/main" id="{1E826897-F522-48F0-9CA2-4CB606A1959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7A78F42-479F-4460-8616-63CD7D5E9F7A}"/>
              </a:ext>
            </a:extLst>
          </p:cNvPr>
          <p:cNvSpPr>
            <a:spLocks noGrp="1"/>
          </p:cNvSpPr>
          <p:nvPr>
            <p:ph type="sldNum" sz="quarter" idx="12"/>
          </p:nvPr>
        </p:nvSpPr>
        <p:spPr/>
        <p:txBody>
          <a:bodyPr/>
          <a:lstStyle/>
          <a:p>
            <a:fld id="{B442A9C5-C94E-4A83-9C6E-1C80BFD6CA2F}" type="slidenum">
              <a:rPr lang="en-GB" smtClean="0"/>
              <a:t>‹N°›</a:t>
            </a:fld>
            <a:endParaRPr lang="en-GB"/>
          </a:p>
        </p:txBody>
      </p:sp>
    </p:spTree>
    <p:extLst>
      <p:ext uri="{BB962C8B-B14F-4D97-AF65-F5344CB8AC3E}">
        <p14:creationId xmlns:p14="http://schemas.microsoft.com/office/powerpoint/2010/main" val="26661988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endParaRPr lang="en-US"/>
          </a:p>
        </p:txBody>
      </p:sp>
      <p:sp>
        <p:nvSpPr>
          <p:cNvPr id="3" name="Slide Number Placeholder 5"/>
          <p:cNvSpPr>
            <a:spLocks noGrp="1"/>
          </p:cNvSpPr>
          <p:nvPr>
            <p:ph type="sldNum" sz="quarter" idx="11"/>
          </p:nvPr>
        </p:nvSpPr>
        <p:spPr/>
        <p:txBody>
          <a:bodyPr/>
          <a:lstStyle>
            <a:lvl1pPr>
              <a:defRPr/>
            </a:lvl1pPr>
          </a:lstStyle>
          <a:p>
            <a:pPr>
              <a:defRPr/>
            </a:pPr>
            <a:fld id="{9D80A85F-EE2E-4277-B276-33FB34979C62}" type="slidenum">
              <a:rPr lang="en-US"/>
              <a:pPr>
                <a:defRPr/>
              </a:pPr>
              <a:t>‹N°›</a:t>
            </a:fld>
            <a:endParaRPr lang="en-US" dirty="0"/>
          </a:p>
        </p:txBody>
      </p:sp>
    </p:spTree>
    <p:extLst>
      <p:ext uri="{BB962C8B-B14F-4D97-AF65-F5344CB8AC3E}">
        <p14:creationId xmlns:p14="http://schemas.microsoft.com/office/powerpoint/2010/main" val="31335519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B534E8-6B0C-8A41-9869-A3F5CDF2CC98}" type="datetimeFigureOut">
              <a:rPr lang="en-US" smtClean="0"/>
              <a:t>10/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19713575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endParaRPr lang="en-US"/>
          </a:p>
        </p:txBody>
      </p:sp>
      <p:sp>
        <p:nvSpPr>
          <p:cNvPr id="3" name="Slide Number Placeholder 5"/>
          <p:cNvSpPr>
            <a:spLocks noGrp="1"/>
          </p:cNvSpPr>
          <p:nvPr>
            <p:ph type="sldNum" sz="quarter" idx="11"/>
          </p:nvPr>
        </p:nvSpPr>
        <p:spPr/>
        <p:txBody>
          <a:bodyPr/>
          <a:lstStyle>
            <a:lvl1pPr>
              <a:defRPr/>
            </a:lvl1pPr>
          </a:lstStyle>
          <a:p>
            <a:pPr>
              <a:defRPr/>
            </a:pPr>
            <a:fld id="{48191064-2E5B-41BE-9E6F-A9927B9AA32C}" type="slidenum">
              <a:rPr lang="en-US"/>
              <a:pPr>
                <a:defRPr/>
              </a:pPr>
              <a:t>‹N°›</a:t>
            </a:fld>
            <a:endParaRPr lang="en-US" dirty="0"/>
          </a:p>
        </p:txBody>
      </p:sp>
    </p:spTree>
    <p:extLst>
      <p:ext uri="{BB962C8B-B14F-4D97-AF65-F5344CB8AC3E}">
        <p14:creationId xmlns:p14="http://schemas.microsoft.com/office/powerpoint/2010/main" val="27751048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42" y="1718734"/>
            <a:ext cx="11106150" cy="4519084"/>
          </a:xfrm>
          <a:prstGeom prst="rect">
            <a:avLst/>
          </a:prstGeom>
        </p:spPr>
        <p:txBody>
          <a:bodyPr/>
          <a:lstStyle>
            <a:lvl1pPr>
              <a:spcBef>
                <a:spcPts val="600"/>
              </a:spcBef>
              <a:spcAft>
                <a:spcPts val="0"/>
              </a:spcAft>
              <a:defRPr sz="1400" b="0" baseline="0"/>
            </a:lvl1pPr>
            <a:lvl2pPr marL="171450" indent="-171450">
              <a:spcBef>
                <a:spcPts val="600"/>
              </a:spcBef>
              <a:spcAft>
                <a:spcPts val="0"/>
              </a:spcAft>
              <a:buClr>
                <a:schemeClr val="accent3">
                  <a:lumMod val="75000"/>
                </a:schemeClr>
              </a:buClr>
              <a:buFont typeface="Wingdings" panose="05000000000000000000" pitchFamily="2" charset="2"/>
              <a:buChar char="§"/>
              <a:defRPr sz="1300"/>
            </a:lvl2pPr>
            <a:lvl3pPr marL="342900" indent="-171450">
              <a:spcBef>
                <a:spcPts val="600"/>
              </a:spcBef>
              <a:spcAft>
                <a:spcPts val="0"/>
              </a:spcAft>
              <a:buClr>
                <a:srgbClr val="3086AB"/>
              </a:buClr>
              <a:buFont typeface="Arial" panose="020B0604020202020204" pitchFamily="34" charset="0"/>
              <a:buChar char="•"/>
              <a:tabLst/>
              <a:defRPr sz="1200" baseline="0"/>
            </a:lvl3pPr>
            <a:lvl4pPr marL="515938" indent="-173038">
              <a:spcBef>
                <a:spcPts val="600"/>
              </a:spcBef>
              <a:spcAft>
                <a:spcPts val="0"/>
              </a:spcAft>
              <a:buFont typeface="Arial" panose="020B0604020202020204" pitchFamily="34" charset="0"/>
              <a:buChar char="-"/>
              <a:tabLst/>
              <a:defRPr baseline="0"/>
            </a:lvl4pPr>
            <a:lvl5pPr marL="687388" indent="-171450">
              <a:spcBef>
                <a:spcPts val="6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a:xfrm>
            <a:off x="7498086" y="6527945"/>
            <a:ext cx="3860800" cy="207464"/>
          </a:xfrm>
          <a:prstGeom prst="rect">
            <a:avLst/>
          </a:prstGeom>
        </p:spPr>
        <p:txBody>
          <a:bodyPr/>
          <a:lstStyle/>
          <a:p>
            <a:pPr algn="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N°›</a:t>
            </a:fld>
            <a:endParaRPr lang="en-US" dirty="0">
              <a:solidFill>
                <a:srgbClr val="000000"/>
              </a:solidFill>
            </a:endParaRPr>
          </a:p>
        </p:txBody>
      </p:sp>
      <p:sp>
        <p:nvSpPr>
          <p:cNvPr id="2" name="Title 1"/>
          <p:cNvSpPr>
            <a:spLocks noGrp="1"/>
          </p:cNvSpPr>
          <p:nvPr>
            <p:ph type="title" hasCustomPrompt="1"/>
          </p:nvPr>
        </p:nvSpPr>
        <p:spPr>
          <a:xfrm>
            <a:off x="486842" y="646258"/>
            <a:ext cx="11106150" cy="697577"/>
          </a:xfrm>
          <a:prstGeom prst="rect">
            <a:avLst/>
          </a:prstGeo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10313832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838201" y="6356365"/>
            <a:ext cx="2743200" cy="365125"/>
          </a:xfrm>
          <a:prstGeom prst="rect">
            <a:avLst/>
          </a:prstGeom>
        </p:spPr>
        <p:txBody>
          <a:bodyPr/>
          <a:lstStyle/>
          <a:p>
            <a:endParaRPr lang="en-US" dirty="0"/>
          </a:p>
        </p:txBody>
      </p:sp>
      <p:sp>
        <p:nvSpPr>
          <p:cNvPr id="4" name="Footer Placeholder 3"/>
          <p:cNvSpPr>
            <a:spLocks noGrp="1"/>
          </p:cNvSpPr>
          <p:nvPr>
            <p:ph type="ftr" sz="quarter" idx="11"/>
          </p:nvPr>
        </p:nvSpPr>
        <p:spPr>
          <a:xfrm>
            <a:off x="4038602" y="6356365"/>
            <a:ext cx="4114799" cy="365125"/>
          </a:xfrm>
          <a:prstGeom prst="rect">
            <a:avLst/>
          </a:prstGeom>
        </p:spPr>
        <p:txBody>
          <a:bodyPr/>
          <a:lstStyle/>
          <a:p>
            <a:endParaRPr lang="en-US" dirty="0"/>
          </a:p>
        </p:txBody>
      </p:sp>
      <p:sp>
        <p:nvSpPr>
          <p:cNvPr id="18" name="Title 1"/>
          <p:cNvSpPr>
            <a:spLocks noGrp="1"/>
          </p:cNvSpPr>
          <p:nvPr>
            <p:ph type="ctrTitle"/>
          </p:nvPr>
        </p:nvSpPr>
        <p:spPr>
          <a:xfrm>
            <a:off x="773291" y="407994"/>
            <a:ext cx="10363200" cy="506413"/>
          </a:xfrm>
          <a:prstGeom prst="rect">
            <a:avLst/>
          </a:prstGeom>
        </p:spPr>
        <p:txBody>
          <a:bodyPr/>
          <a:lstStyle>
            <a:lvl1pPr algn="l">
              <a:defRPr sz="2800" b="0">
                <a:solidFill>
                  <a:srgbClr val="333399"/>
                </a:solidFill>
                <a:latin typeface="Arial"/>
                <a:cs typeface="Arial"/>
              </a:defRPr>
            </a:lvl1pPr>
          </a:lstStyle>
          <a:p>
            <a:r>
              <a:rPr lang="en-US"/>
              <a:t>Click to edit Master title style</a:t>
            </a:r>
            <a:endParaRPr lang="en-US" dirty="0"/>
          </a:p>
        </p:txBody>
      </p:sp>
      <p:sp>
        <p:nvSpPr>
          <p:cNvPr id="5" name="Slide Number Placeholder 4"/>
          <p:cNvSpPr>
            <a:spLocks noGrp="1"/>
          </p:cNvSpPr>
          <p:nvPr>
            <p:ph type="sldNum" sz="quarter" idx="12"/>
          </p:nvPr>
        </p:nvSpPr>
        <p:spPr>
          <a:xfrm>
            <a:off x="8610599" y="6356365"/>
            <a:ext cx="2743200" cy="365125"/>
          </a:xfrm>
          <a:prstGeom prst="rect">
            <a:avLst/>
          </a:prstGeom>
        </p:spPr>
        <p:txBody>
          <a:bodyPr/>
          <a:lstStyle/>
          <a:p>
            <a:endParaRPr lang="en-US" dirty="0"/>
          </a:p>
          <a:p>
            <a:fld id="{20E72F2D-B2AC-6244-8A61-4DB2981BEBB5}" type="slidenum">
              <a:rPr lang="en-US" smtClean="0"/>
              <a:pPr/>
              <a:t>‹N°›</a:t>
            </a:fld>
            <a:endParaRPr lang="en-US" dirty="0"/>
          </a:p>
          <a:p>
            <a:endParaRPr lang="en-US" dirty="0"/>
          </a:p>
        </p:txBody>
      </p:sp>
      <p:sp>
        <p:nvSpPr>
          <p:cNvPr id="11" name="Text Placeholder 10"/>
          <p:cNvSpPr>
            <a:spLocks noGrp="1"/>
          </p:cNvSpPr>
          <p:nvPr>
            <p:ph type="body" sz="quarter" idx="14"/>
          </p:nvPr>
        </p:nvSpPr>
        <p:spPr>
          <a:xfrm>
            <a:off x="772594" y="1574800"/>
            <a:ext cx="10606615" cy="3492500"/>
          </a:xfrm>
          <a:prstGeom prst="rect">
            <a:avLst/>
          </a:prstGeom>
        </p:spPr>
        <p:txBody>
          <a:bodyPr vert="horz"/>
          <a:lstStyle>
            <a:lvl1pPr>
              <a:defRPr sz="2800">
                <a:latin typeface="Arial"/>
                <a:cs typeface="Arial"/>
              </a:defRPr>
            </a:lvl1pPr>
            <a:lvl2pPr>
              <a:defRPr sz="2400">
                <a:latin typeface="Arial"/>
                <a:cs typeface="Arial"/>
              </a:defRPr>
            </a:lvl2pPr>
            <a:lvl3pPr>
              <a:defRPr>
                <a:latin typeface="Arial"/>
                <a:cs typeface="Arial"/>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782145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1_Section Header">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751671" y="482572"/>
            <a:ext cx="10623549" cy="512961"/>
          </a:xfrm>
          <a:prstGeom prst="rect">
            <a:avLst/>
          </a:prstGeom>
        </p:spPr>
        <p:txBody>
          <a:bodyPr anchor="t" anchorCtr="0">
            <a:noAutofit/>
          </a:bodyPr>
          <a:lstStyle>
            <a:lvl1pPr algn="l" defTabSz="685700" rtl="0" eaLnBrk="1" latinLnBrk="0" hangingPunct="1">
              <a:lnSpc>
                <a:spcPct val="100000"/>
              </a:lnSpc>
              <a:spcBef>
                <a:spcPct val="0"/>
              </a:spcBef>
              <a:buNone/>
              <a:defRPr lang="en-US" sz="1800" b="1" kern="1200" cap="none" spc="0" baseline="0" dirty="0">
                <a:ln w="3175">
                  <a:noFill/>
                </a:ln>
                <a:solidFill>
                  <a:srgbClr val="C00000"/>
                </a:solidFill>
                <a:effectLst/>
                <a:latin typeface="+mj-lt"/>
                <a:ea typeface="+mn-ea"/>
                <a:cs typeface="Arial" charset="0"/>
              </a:defRPr>
            </a:lvl1pPr>
          </a:lstStyle>
          <a:p>
            <a:r>
              <a:rPr lang="en-US"/>
              <a:t>Click to edit Master title style</a:t>
            </a:r>
            <a:endParaRPr lang="en-US" dirty="0"/>
          </a:p>
        </p:txBody>
      </p:sp>
      <p:sp>
        <p:nvSpPr>
          <p:cNvPr id="6" name="Slide Number Placeholder 5"/>
          <p:cNvSpPr>
            <a:spLocks noGrp="1"/>
          </p:cNvSpPr>
          <p:nvPr>
            <p:ph type="sldNum" sz="quarter" idx="12"/>
          </p:nvPr>
        </p:nvSpPr>
        <p:spPr>
          <a:xfrm>
            <a:off x="11193961" y="6461502"/>
            <a:ext cx="588433" cy="365125"/>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smtClean="0">
                <a:solidFill>
                  <a:srgbClr val="59452A"/>
                </a:solidFill>
              </a:rPr>
              <a:pPr defTabSz="685700"/>
              <a:t>‹N°›</a:t>
            </a:fld>
            <a:endParaRPr lang="en-US" dirty="0">
              <a:solidFill>
                <a:srgbClr val="59452A"/>
              </a:solidFill>
            </a:endParaRPr>
          </a:p>
        </p:txBody>
      </p:sp>
      <p:sp>
        <p:nvSpPr>
          <p:cNvPr id="8" name="Text Placeholder 11"/>
          <p:cNvSpPr>
            <a:spLocks noGrp="1"/>
          </p:cNvSpPr>
          <p:nvPr>
            <p:ph type="body" sz="quarter" idx="13"/>
          </p:nvPr>
        </p:nvSpPr>
        <p:spPr>
          <a:xfrm>
            <a:off x="750371" y="1531737"/>
            <a:ext cx="10602382" cy="4378396"/>
          </a:xfrm>
          <a:prstGeom prst="rect">
            <a:avLst/>
          </a:prstGeo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111410770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41746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2" y="-26988"/>
            <a:ext cx="12188238" cy="1270001"/>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549314" y="1557346"/>
            <a:ext cx="5506247" cy="479583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6236149" y="1557346"/>
            <a:ext cx="5508127" cy="4795837"/>
          </a:xfrm>
          <a:prstGeom prst="rect">
            <a:avLst/>
          </a:prstGeom>
        </p:spPr>
        <p:txBody>
          <a:bodyPr/>
          <a:lstStyle/>
          <a:p>
            <a:pPr lvl="0"/>
            <a:endParaRPr lang="en-US" noProof="0"/>
          </a:p>
        </p:txBody>
      </p:sp>
    </p:spTree>
    <p:extLst>
      <p:ext uri="{BB962C8B-B14F-4D97-AF65-F5344CB8AC3E}">
        <p14:creationId xmlns:p14="http://schemas.microsoft.com/office/powerpoint/2010/main" val="27394690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259" y="2130436"/>
            <a:ext cx="10363482"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519" y="3886200"/>
            <a:ext cx="8534965"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24571988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 y="-26988"/>
            <a:ext cx="12188238" cy="1270001"/>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998880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562905" indent="0" algn="ctr">
              <a:buNone/>
              <a:defRPr>
                <a:solidFill>
                  <a:schemeClr val="tx1">
                    <a:tint val="75000"/>
                  </a:schemeClr>
                </a:solidFill>
              </a:defRPr>
            </a:lvl2pPr>
            <a:lvl3pPr marL="1125809" indent="0" algn="ctr">
              <a:buNone/>
              <a:defRPr>
                <a:solidFill>
                  <a:schemeClr val="tx1">
                    <a:tint val="75000"/>
                  </a:schemeClr>
                </a:solidFill>
              </a:defRPr>
            </a:lvl3pPr>
            <a:lvl4pPr marL="1688714" indent="0" algn="ctr">
              <a:buNone/>
              <a:defRPr>
                <a:solidFill>
                  <a:schemeClr val="tx1">
                    <a:tint val="75000"/>
                  </a:schemeClr>
                </a:solidFill>
              </a:defRPr>
            </a:lvl4pPr>
            <a:lvl5pPr marL="2251619" indent="0" algn="ctr">
              <a:buNone/>
              <a:defRPr>
                <a:solidFill>
                  <a:schemeClr val="tx1">
                    <a:tint val="75000"/>
                  </a:schemeClr>
                </a:solidFill>
              </a:defRPr>
            </a:lvl5pPr>
            <a:lvl6pPr marL="2814523" indent="0" algn="ctr">
              <a:buNone/>
              <a:defRPr>
                <a:solidFill>
                  <a:schemeClr val="tx1">
                    <a:tint val="75000"/>
                  </a:schemeClr>
                </a:solidFill>
              </a:defRPr>
            </a:lvl6pPr>
            <a:lvl7pPr marL="3377428" indent="0" algn="ctr">
              <a:buNone/>
              <a:defRPr>
                <a:solidFill>
                  <a:schemeClr val="tx1">
                    <a:tint val="75000"/>
                  </a:schemeClr>
                </a:solidFill>
              </a:defRPr>
            </a:lvl7pPr>
            <a:lvl8pPr marL="3940332" indent="0" algn="ctr">
              <a:buNone/>
              <a:defRPr>
                <a:solidFill>
                  <a:schemeClr val="tx1">
                    <a:tint val="75000"/>
                  </a:schemeClr>
                </a:solidFill>
              </a:defRPr>
            </a:lvl8pPr>
            <a:lvl9pPr marL="4503237"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5A9BA17A-CF33-474F-DBF1-0C73F046DF70}"/>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65B6B581-79A2-07B7-A7C0-B056A286B8D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82359D9E-E2F4-3872-C562-6B3561CF5E5E}"/>
              </a:ext>
            </a:extLst>
          </p:cNvPr>
          <p:cNvSpPr>
            <a:spLocks noGrp="1"/>
          </p:cNvSpPr>
          <p:nvPr>
            <p:ph type="sldNum" sz="quarter" idx="12"/>
          </p:nvPr>
        </p:nvSpPr>
        <p:spPr/>
        <p:txBody>
          <a:bodyPr/>
          <a:lstStyle>
            <a:lvl1pPr>
              <a:defRPr/>
            </a:lvl1pPr>
          </a:lstStyle>
          <a:p>
            <a:pPr>
              <a:defRPr/>
            </a:pPr>
            <a:fld id="{5FA30C0F-4744-4DAC-972C-4D04D0D9A623}" type="slidenum">
              <a:rPr lang="en-US" altLang="fr-FR"/>
              <a:pPr>
                <a:defRPr/>
              </a:pPr>
              <a:t>‹N°›</a:t>
            </a:fld>
            <a:endParaRPr lang="en-US" altLang="fr-FR"/>
          </a:p>
        </p:txBody>
      </p:sp>
    </p:spTree>
    <p:extLst>
      <p:ext uri="{BB962C8B-B14F-4D97-AF65-F5344CB8AC3E}">
        <p14:creationId xmlns:p14="http://schemas.microsoft.com/office/powerpoint/2010/main" val="2614170709"/>
      </p:ext>
    </p:extLst>
  </p:cSld>
  <p:clrMapOvr>
    <a:masterClrMapping/>
  </p:clrMapOvr>
  <p:transition spd="med">
    <p:cover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C06A7C-B30F-F5EA-397A-00FE433BDD26}"/>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87AFFED9-5F24-FD58-5745-5EB48CD8519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A57FEC8A-E15D-087B-4562-2C728B4714C3}"/>
              </a:ext>
            </a:extLst>
          </p:cNvPr>
          <p:cNvSpPr>
            <a:spLocks noGrp="1"/>
          </p:cNvSpPr>
          <p:nvPr>
            <p:ph type="sldNum" sz="quarter" idx="12"/>
          </p:nvPr>
        </p:nvSpPr>
        <p:spPr/>
        <p:txBody>
          <a:bodyPr/>
          <a:lstStyle>
            <a:lvl1pPr>
              <a:defRPr/>
            </a:lvl1pPr>
          </a:lstStyle>
          <a:p>
            <a:pPr>
              <a:defRPr/>
            </a:pPr>
            <a:fld id="{10E95E38-1671-48D9-A081-086A76E954CE}" type="slidenum">
              <a:rPr lang="en-US" altLang="fr-FR"/>
              <a:pPr>
                <a:defRPr/>
              </a:pPr>
              <a:t>‹N°›</a:t>
            </a:fld>
            <a:endParaRPr lang="en-US" altLang="fr-FR"/>
          </a:p>
        </p:txBody>
      </p:sp>
    </p:spTree>
    <p:extLst>
      <p:ext uri="{BB962C8B-B14F-4D97-AF65-F5344CB8AC3E}">
        <p14:creationId xmlns:p14="http://schemas.microsoft.com/office/powerpoint/2010/main" val="2470379751"/>
      </p:ext>
    </p:extLst>
  </p:cSld>
  <p:clrMapOvr>
    <a:masterClrMapping/>
  </p:clrMapOvr>
  <p:transition spd="med">
    <p:cover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6B15CEA-7F4D-4111-91E1-C24BB8942014}"/>
              </a:ext>
            </a:extLst>
          </p:cNvPr>
          <p:cNvSpPr/>
          <p:nvPr userDrawn="1"/>
        </p:nvSpPr>
        <p:spPr>
          <a:xfrm flipV="1">
            <a:off x="0" y="0"/>
            <a:ext cx="12192000" cy="1540042"/>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DB110B65-104E-48DA-9FDA-01FF9A48E841}"/>
              </a:ext>
            </a:extLst>
          </p:cNvPr>
          <p:cNvSpPr>
            <a:spLocks noGrp="1"/>
          </p:cNvSpPr>
          <p:nvPr>
            <p:ph type="title"/>
          </p:nvPr>
        </p:nvSpPr>
        <p:spPr>
          <a:xfrm>
            <a:off x="381000" y="1"/>
            <a:ext cx="11506200" cy="1540042"/>
          </a:xfrm>
        </p:spPr>
        <p:txBody>
          <a:bodyPr tIns="0" bIns="91440" anchor="b"/>
          <a:lstStyle>
            <a:lvl1pPr>
              <a:defRPr cap="all" baseline="0">
                <a:solidFill>
                  <a:schemeClr val="bg1"/>
                </a:solidFill>
              </a:defRPr>
            </a:lvl1pPr>
          </a:lstStyle>
          <a:p>
            <a:r>
              <a:rPr lang="en-US" dirty="0"/>
              <a:t>Click to edit Master title style</a:t>
            </a:r>
          </a:p>
        </p:txBody>
      </p:sp>
      <p:sp>
        <p:nvSpPr>
          <p:cNvPr id="10" name="Content Placeholder 2">
            <a:extLst>
              <a:ext uri="{FF2B5EF4-FFF2-40B4-BE49-F238E27FC236}">
                <a16:creationId xmlns:a16="http://schemas.microsoft.com/office/drawing/2014/main" id="{9A633E9E-2A95-4274-8C9E-B12F3C8F05DB}"/>
              </a:ext>
            </a:extLst>
          </p:cNvPr>
          <p:cNvSpPr>
            <a:spLocks noGrp="1"/>
          </p:cNvSpPr>
          <p:nvPr>
            <p:ph idx="1"/>
          </p:nvPr>
        </p:nvSpPr>
        <p:spPr>
          <a:xfrm>
            <a:off x="380999" y="2436811"/>
            <a:ext cx="11506199" cy="3836989"/>
          </a:xfrm>
        </p:spPr>
        <p:txBody>
          <a:bodyPr>
            <a:normAutofit/>
          </a:bodyPr>
          <a:lstStyle>
            <a:lvl1pPr>
              <a:defRPr sz="2400">
                <a:solidFill>
                  <a:srgbClr val="333333"/>
                </a:solidFill>
              </a:defRPr>
            </a:lvl1pPr>
            <a:lvl2pPr marL="457200" indent="-228600">
              <a:defRPr sz="2000">
                <a:solidFill>
                  <a:srgbClr val="333333"/>
                </a:solidFill>
              </a:defRPr>
            </a:lvl2pPr>
            <a:lvl3pPr marL="685800" indent="-228600">
              <a:defRPr sz="1800">
                <a:solidFill>
                  <a:srgbClr val="333333"/>
                </a:solidFill>
              </a:defRPr>
            </a:lvl3pPr>
            <a:lvl4pPr marL="914400" indent="-228600">
              <a:defRPr sz="1600">
                <a:solidFill>
                  <a:srgbClr val="333333"/>
                </a:solidFill>
              </a:defRPr>
            </a:lvl4pPr>
            <a:lvl5pPr marL="1143000" indent="-228600">
              <a:defRPr sz="1600">
                <a:solidFill>
                  <a:srgbClr val="33333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ubtitle 2">
            <a:extLst>
              <a:ext uri="{FF2B5EF4-FFF2-40B4-BE49-F238E27FC236}">
                <a16:creationId xmlns:a16="http://schemas.microsoft.com/office/drawing/2014/main" id="{11B1EC5A-E690-43D2-A0E3-D50BD6A53AFE}"/>
              </a:ext>
            </a:extLst>
          </p:cNvPr>
          <p:cNvSpPr>
            <a:spLocks noGrp="1"/>
          </p:cNvSpPr>
          <p:nvPr>
            <p:ph type="subTitle" idx="13"/>
          </p:nvPr>
        </p:nvSpPr>
        <p:spPr>
          <a:xfrm>
            <a:off x="380999" y="1796132"/>
            <a:ext cx="11506199" cy="615279"/>
          </a:xfrm>
        </p:spPr>
        <p:txBody>
          <a:bodyPr>
            <a:normAutofit/>
          </a:bodyPr>
          <a:lstStyle>
            <a:lvl1pPr marL="0" indent="0" algn="l">
              <a:buNone/>
              <a:defRPr sz="2400" b="1" cap="all" baseline="0">
                <a:solidFill>
                  <a:srgbClr val="333333"/>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extBox 6" hidden="1">
            <a:extLst>
              <a:ext uri="{FF2B5EF4-FFF2-40B4-BE49-F238E27FC236}">
                <a16:creationId xmlns:a16="http://schemas.microsoft.com/office/drawing/2014/main" id="{C429B5C5-40F0-413F-82DE-781C809F82A3}"/>
              </a:ext>
            </a:extLst>
          </p:cNvPr>
          <p:cNvSpPr txBox="1"/>
          <p:nvPr userDrawn="1"/>
        </p:nvSpPr>
        <p:spPr>
          <a:xfrm>
            <a:off x="0" y="6673334"/>
            <a:ext cx="9144000"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E7E6E6">
                    <a:lumMod val="75000"/>
                  </a:srgbClr>
                </a:solidFill>
                <a:effectLst/>
                <a:uLnTx/>
                <a:uFillTx/>
                <a:latin typeface="Arial" panose="020B0604020202020204"/>
                <a:ea typeface="+mn-ea"/>
                <a:cs typeface="+mn-cs"/>
              </a:rPr>
              <a:t>© 2019 Rotary International. Internal Use Only. Not For Distribution. Private and Confidential.</a:t>
            </a:r>
          </a:p>
        </p:txBody>
      </p:sp>
      <p:sp>
        <p:nvSpPr>
          <p:cNvPr id="9" name="Slide Number Placeholder 5">
            <a:extLst>
              <a:ext uri="{FF2B5EF4-FFF2-40B4-BE49-F238E27FC236}">
                <a16:creationId xmlns:a16="http://schemas.microsoft.com/office/drawing/2014/main" id="{FD10926E-D815-4592-97B7-8EE7A9786ACB}"/>
              </a:ext>
            </a:extLst>
          </p:cNvPr>
          <p:cNvSpPr>
            <a:spLocks noGrp="1"/>
          </p:cNvSpPr>
          <p:nvPr>
            <p:ph type="sldNum" sz="quarter" idx="12"/>
          </p:nvPr>
        </p:nvSpPr>
        <p:spPr>
          <a:xfrm>
            <a:off x="11650133" y="115570"/>
            <a:ext cx="423334" cy="365125"/>
          </a:xfrm>
        </p:spPr>
        <p:txBody>
          <a:bodyPr vert="horz" lIns="91440" tIns="45720" rIns="91440" bIns="45720" rtlCol="0" anchor="ctr"/>
          <a:lstStyle>
            <a:lvl1pPr>
              <a:defRPr lang="en-US" smtClean="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7A94E25-127B-4C48-AF96-44BA7B823777}"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103031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5" y="4406902"/>
            <a:ext cx="10363200" cy="1362075"/>
          </a:xfrm>
        </p:spPr>
        <p:txBody>
          <a:bodyPr anchor="t"/>
          <a:lstStyle>
            <a:lvl1pPr algn="l">
              <a:defRPr sz="4925" b="1" cap="all"/>
            </a:lvl1pPr>
          </a:lstStyle>
          <a:p>
            <a:r>
              <a:rPr lang="en-US"/>
              <a:t>Click to edit Master title style</a:t>
            </a:r>
          </a:p>
        </p:txBody>
      </p:sp>
      <p:sp>
        <p:nvSpPr>
          <p:cNvPr id="3" name="Text Placeholder 2"/>
          <p:cNvSpPr>
            <a:spLocks noGrp="1"/>
          </p:cNvSpPr>
          <p:nvPr>
            <p:ph type="body" idx="1"/>
          </p:nvPr>
        </p:nvSpPr>
        <p:spPr>
          <a:xfrm>
            <a:off x="963085" y="2906713"/>
            <a:ext cx="10363200" cy="1500187"/>
          </a:xfrm>
        </p:spPr>
        <p:txBody>
          <a:bodyPr anchor="b"/>
          <a:lstStyle>
            <a:lvl1pPr marL="0" indent="0">
              <a:buNone/>
              <a:defRPr sz="2462">
                <a:solidFill>
                  <a:schemeClr val="tx1">
                    <a:tint val="75000"/>
                  </a:schemeClr>
                </a:solidFill>
              </a:defRPr>
            </a:lvl1pPr>
            <a:lvl2pPr marL="562905" indent="0">
              <a:buNone/>
              <a:defRPr sz="2216">
                <a:solidFill>
                  <a:schemeClr val="tx1">
                    <a:tint val="75000"/>
                  </a:schemeClr>
                </a:solidFill>
              </a:defRPr>
            </a:lvl2pPr>
            <a:lvl3pPr marL="1125809" indent="0">
              <a:buNone/>
              <a:defRPr sz="1970">
                <a:solidFill>
                  <a:schemeClr val="tx1">
                    <a:tint val="75000"/>
                  </a:schemeClr>
                </a:solidFill>
              </a:defRPr>
            </a:lvl3pPr>
            <a:lvl4pPr marL="1688714" indent="0">
              <a:buNone/>
              <a:defRPr sz="1724">
                <a:solidFill>
                  <a:schemeClr val="tx1">
                    <a:tint val="75000"/>
                  </a:schemeClr>
                </a:solidFill>
              </a:defRPr>
            </a:lvl4pPr>
            <a:lvl5pPr marL="2251619" indent="0">
              <a:buNone/>
              <a:defRPr sz="1724">
                <a:solidFill>
                  <a:schemeClr val="tx1">
                    <a:tint val="75000"/>
                  </a:schemeClr>
                </a:solidFill>
              </a:defRPr>
            </a:lvl5pPr>
            <a:lvl6pPr marL="2814523" indent="0">
              <a:buNone/>
              <a:defRPr sz="1724">
                <a:solidFill>
                  <a:schemeClr val="tx1">
                    <a:tint val="75000"/>
                  </a:schemeClr>
                </a:solidFill>
              </a:defRPr>
            </a:lvl6pPr>
            <a:lvl7pPr marL="3377428" indent="0">
              <a:buNone/>
              <a:defRPr sz="1724">
                <a:solidFill>
                  <a:schemeClr val="tx1">
                    <a:tint val="75000"/>
                  </a:schemeClr>
                </a:solidFill>
              </a:defRPr>
            </a:lvl7pPr>
            <a:lvl8pPr marL="3940332" indent="0">
              <a:buNone/>
              <a:defRPr sz="1724">
                <a:solidFill>
                  <a:schemeClr val="tx1">
                    <a:tint val="75000"/>
                  </a:schemeClr>
                </a:solidFill>
              </a:defRPr>
            </a:lvl8pPr>
            <a:lvl9pPr marL="4503237" indent="0">
              <a:buNone/>
              <a:defRPr sz="1724">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8A1A4D0-FC2F-84EC-3F72-4AF50BF983F0}"/>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F28D498E-E1DE-8733-C916-D6866B6A5C0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C5BB4093-1FAE-C365-A4B0-E9D93815B804}"/>
              </a:ext>
            </a:extLst>
          </p:cNvPr>
          <p:cNvSpPr>
            <a:spLocks noGrp="1"/>
          </p:cNvSpPr>
          <p:nvPr>
            <p:ph type="sldNum" sz="quarter" idx="12"/>
          </p:nvPr>
        </p:nvSpPr>
        <p:spPr/>
        <p:txBody>
          <a:bodyPr/>
          <a:lstStyle>
            <a:lvl1pPr>
              <a:defRPr/>
            </a:lvl1pPr>
          </a:lstStyle>
          <a:p>
            <a:pPr>
              <a:defRPr/>
            </a:pPr>
            <a:fld id="{B4574E17-DED4-4380-99AE-B97CBD4AE2D0}" type="slidenum">
              <a:rPr lang="en-US" altLang="fr-FR"/>
              <a:pPr>
                <a:defRPr/>
              </a:pPr>
              <a:t>‹N°›</a:t>
            </a:fld>
            <a:endParaRPr lang="en-US" altLang="fr-FR"/>
          </a:p>
        </p:txBody>
      </p:sp>
    </p:spTree>
    <p:extLst>
      <p:ext uri="{BB962C8B-B14F-4D97-AF65-F5344CB8AC3E}">
        <p14:creationId xmlns:p14="http://schemas.microsoft.com/office/powerpoint/2010/main" val="2841264893"/>
      </p:ext>
    </p:extLst>
  </p:cSld>
  <p:clrMapOvr>
    <a:masterClrMapping/>
  </p:clrMapOvr>
  <p:transition spd="med">
    <p:cover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3447"/>
            </a:lvl1pPr>
            <a:lvl2pPr>
              <a:defRPr sz="2955"/>
            </a:lvl2pPr>
            <a:lvl3pPr>
              <a:defRPr sz="2462"/>
            </a:lvl3pPr>
            <a:lvl4pPr>
              <a:defRPr sz="2216"/>
            </a:lvl4pPr>
            <a:lvl5pPr>
              <a:defRPr sz="2216"/>
            </a:lvl5pPr>
            <a:lvl6pPr>
              <a:defRPr sz="2216"/>
            </a:lvl6pPr>
            <a:lvl7pPr>
              <a:defRPr sz="2216"/>
            </a:lvl7pPr>
            <a:lvl8pPr>
              <a:defRPr sz="2216"/>
            </a:lvl8pPr>
            <a:lvl9pPr>
              <a:defRPr sz="221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963"/>
          </a:xfrm>
        </p:spPr>
        <p:txBody>
          <a:bodyPr/>
          <a:lstStyle>
            <a:lvl1pPr>
              <a:defRPr sz="3447"/>
            </a:lvl1pPr>
            <a:lvl2pPr>
              <a:defRPr sz="2955"/>
            </a:lvl2pPr>
            <a:lvl3pPr>
              <a:defRPr sz="2462"/>
            </a:lvl3pPr>
            <a:lvl4pPr>
              <a:defRPr sz="2216"/>
            </a:lvl4pPr>
            <a:lvl5pPr>
              <a:defRPr sz="2216"/>
            </a:lvl5pPr>
            <a:lvl6pPr>
              <a:defRPr sz="2216"/>
            </a:lvl6pPr>
            <a:lvl7pPr>
              <a:defRPr sz="2216"/>
            </a:lvl7pPr>
            <a:lvl8pPr>
              <a:defRPr sz="2216"/>
            </a:lvl8pPr>
            <a:lvl9pPr>
              <a:defRPr sz="221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C682CC57-C368-F5E5-51D8-E6121993EFF0}"/>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0B03104D-3520-90E5-F9C4-528E6E5D0E6D}"/>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79704CF0-7729-65D8-D24E-CEEAC6A70FC8}"/>
              </a:ext>
            </a:extLst>
          </p:cNvPr>
          <p:cNvSpPr>
            <a:spLocks noGrp="1"/>
          </p:cNvSpPr>
          <p:nvPr>
            <p:ph type="sldNum" sz="quarter" idx="12"/>
          </p:nvPr>
        </p:nvSpPr>
        <p:spPr/>
        <p:txBody>
          <a:bodyPr/>
          <a:lstStyle>
            <a:lvl1pPr>
              <a:defRPr/>
            </a:lvl1pPr>
          </a:lstStyle>
          <a:p>
            <a:pPr>
              <a:defRPr/>
            </a:pPr>
            <a:fld id="{4BDD9881-8AEA-4CC8-96AF-982FE20152AA}" type="slidenum">
              <a:rPr lang="en-US" altLang="fr-FR"/>
              <a:pPr>
                <a:defRPr/>
              </a:pPr>
              <a:t>‹N°›</a:t>
            </a:fld>
            <a:endParaRPr lang="en-US" altLang="fr-FR"/>
          </a:p>
        </p:txBody>
      </p:sp>
    </p:spTree>
    <p:extLst>
      <p:ext uri="{BB962C8B-B14F-4D97-AF65-F5344CB8AC3E}">
        <p14:creationId xmlns:p14="http://schemas.microsoft.com/office/powerpoint/2010/main" val="556497969"/>
      </p:ext>
    </p:extLst>
  </p:cSld>
  <p:clrMapOvr>
    <a:masterClrMapping/>
  </p:clrMapOvr>
  <p:transition spd="med">
    <p:cover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955" b="1"/>
            </a:lvl1pPr>
            <a:lvl2pPr marL="562905" indent="0">
              <a:buNone/>
              <a:defRPr sz="2462" b="1"/>
            </a:lvl2pPr>
            <a:lvl3pPr marL="1125809" indent="0">
              <a:buNone/>
              <a:defRPr sz="2216" b="1"/>
            </a:lvl3pPr>
            <a:lvl4pPr marL="1688714" indent="0">
              <a:buNone/>
              <a:defRPr sz="1970" b="1"/>
            </a:lvl4pPr>
            <a:lvl5pPr marL="2251619" indent="0">
              <a:buNone/>
              <a:defRPr sz="1970" b="1"/>
            </a:lvl5pPr>
            <a:lvl6pPr marL="2814523" indent="0">
              <a:buNone/>
              <a:defRPr sz="1970" b="1"/>
            </a:lvl6pPr>
            <a:lvl7pPr marL="3377428" indent="0">
              <a:buNone/>
              <a:defRPr sz="1970" b="1"/>
            </a:lvl7pPr>
            <a:lvl8pPr marL="3940332" indent="0">
              <a:buNone/>
              <a:defRPr sz="1970" b="1"/>
            </a:lvl8pPr>
            <a:lvl9pPr marL="4503237" indent="0">
              <a:buNone/>
              <a:defRPr sz="197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955"/>
            </a:lvl1pPr>
            <a:lvl2pPr>
              <a:defRPr sz="2462"/>
            </a:lvl2pPr>
            <a:lvl3pPr>
              <a:defRPr sz="2216"/>
            </a:lvl3pPr>
            <a:lvl4pPr>
              <a:defRPr sz="1970"/>
            </a:lvl4pPr>
            <a:lvl5pPr>
              <a:defRPr sz="1970"/>
            </a:lvl5pPr>
            <a:lvl6pPr>
              <a:defRPr sz="1970"/>
            </a:lvl6pPr>
            <a:lvl7pPr>
              <a:defRPr sz="1970"/>
            </a:lvl7pPr>
            <a:lvl8pPr>
              <a:defRPr sz="1970"/>
            </a:lvl8pPr>
            <a:lvl9pPr>
              <a:defRPr sz="19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7" y="1535113"/>
            <a:ext cx="5389033" cy="639762"/>
          </a:xfrm>
        </p:spPr>
        <p:txBody>
          <a:bodyPr anchor="b"/>
          <a:lstStyle>
            <a:lvl1pPr marL="0" indent="0">
              <a:buNone/>
              <a:defRPr sz="2955" b="1"/>
            </a:lvl1pPr>
            <a:lvl2pPr marL="562905" indent="0">
              <a:buNone/>
              <a:defRPr sz="2462" b="1"/>
            </a:lvl2pPr>
            <a:lvl3pPr marL="1125809" indent="0">
              <a:buNone/>
              <a:defRPr sz="2216" b="1"/>
            </a:lvl3pPr>
            <a:lvl4pPr marL="1688714" indent="0">
              <a:buNone/>
              <a:defRPr sz="1970" b="1"/>
            </a:lvl4pPr>
            <a:lvl5pPr marL="2251619" indent="0">
              <a:buNone/>
              <a:defRPr sz="1970" b="1"/>
            </a:lvl5pPr>
            <a:lvl6pPr marL="2814523" indent="0">
              <a:buNone/>
              <a:defRPr sz="1970" b="1"/>
            </a:lvl6pPr>
            <a:lvl7pPr marL="3377428" indent="0">
              <a:buNone/>
              <a:defRPr sz="1970" b="1"/>
            </a:lvl7pPr>
            <a:lvl8pPr marL="3940332" indent="0">
              <a:buNone/>
              <a:defRPr sz="1970" b="1"/>
            </a:lvl8pPr>
            <a:lvl9pPr marL="4503237" indent="0">
              <a:buNone/>
              <a:defRPr sz="1970" b="1"/>
            </a:lvl9pPr>
          </a:lstStyle>
          <a:p>
            <a:pPr lvl="0"/>
            <a:r>
              <a:rPr lang="en-US"/>
              <a:t>Click to edit Master text styles</a:t>
            </a:r>
          </a:p>
        </p:txBody>
      </p:sp>
      <p:sp>
        <p:nvSpPr>
          <p:cNvPr id="6" name="Content Placeholder 5"/>
          <p:cNvSpPr>
            <a:spLocks noGrp="1"/>
          </p:cNvSpPr>
          <p:nvPr>
            <p:ph sz="quarter" idx="4"/>
          </p:nvPr>
        </p:nvSpPr>
        <p:spPr>
          <a:xfrm>
            <a:off x="6193367" y="2174875"/>
            <a:ext cx="5389033" cy="3951288"/>
          </a:xfrm>
        </p:spPr>
        <p:txBody>
          <a:bodyPr/>
          <a:lstStyle>
            <a:lvl1pPr>
              <a:defRPr sz="2955"/>
            </a:lvl1pPr>
            <a:lvl2pPr>
              <a:defRPr sz="2462"/>
            </a:lvl2pPr>
            <a:lvl3pPr>
              <a:defRPr sz="2216"/>
            </a:lvl3pPr>
            <a:lvl4pPr>
              <a:defRPr sz="1970"/>
            </a:lvl4pPr>
            <a:lvl5pPr>
              <a:defRPr sz="1970"/>
            </a:lvl5pPr>
            <a:lvl6pPr>
              <a:defRPr sz="1970"/>
            </a:lvl6pPr>
            <a:lvl7pPr>
              <a:defRPr sz="1970"/>
            </a:lvl7pPr>
            <a:lvl8pPr>
              <a:defRPr sz="1970"/>
            </a:lvl8pPr>
            <a:lvl9pPr>
              <a:defRPr sz="19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C617AF85-DE89-FE99-8E52-B357CCC0C04B}"/>
              </a:ext>
            </a:extLst>
          </p:cNvPr>
          <p:cNvSpPr>
            <a:spLocks noGrp="1"/>
          </p:cNvSpPr>
          <p:nvPr>
            <p:ph type="dt" sz="half" idx="10"/>
          </p:nvPr>
        </p:nvSpPr>
        <p:spPr/>
        <p:txBody>
          <a:bodyPr/>
          <a:lstStyle>
            <a:lvl1pPr>
              <a:defRPr/>
            </a:lvl1pPr>
          </a:lstStyle>
          <a:p>
            <a:pPr>
              <a:defRPr/>
            </a:pPr>
            <a:endParaRPr lang="en-US"/>
          </a:p>
        </p:txBody>
      </p:sp>
      <p:sp>
        <p:nvSpPr>
          <p:cNvPr id="8" name="Footer Placeholder 4">
            <a:extLst>
              <a:ext uri="{FF2B5EF4-FFF2-40B4-BE49-F238E27FC236}">
                <a16:creationId xmlns:a16="http://schemas.microsoft.com/office/drawing/2014/main" id="{2C8290B6-0F2C-93D3-81E2-B06020065643}"/>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DBCD9E19-C31C-6E57-A468-EC626972B204}"/>
              </a:ext>
            </a:extLst>
          </p:cNvPr>
          <p:cNvSpPr>
            <a:spLocks noGrp="1"/>
          </p:cNvSpPr>
          <p:nvPr>
            <p:ph type="sldNum" sz="quarter" idx="12"/>
          </p:nvPr>
        </p:nvSpPr>
        <p:spPr/>
        <p:txBody>
          <a:bodyPr/>
          <a:lstStyle>
            <a:lvl1pPr>
              <a:defRPr/>
            </a:lvl1pPr>
          </a:lstStyle>
          <a:p>
            <a:pPr>
              <a:defRPr/>
            </a:pPr>
            <a:fld id="{352E254F-6CC2-4B0E-995C-CAAD457F1C53}" type="slidenum">
              <a:rPr lang="en-US" altLang="fr-FR"/>
              <a:pPr>
                <a:defRPr/>
              </a:pPr>
              <a:t>‹N°›</a:t>
            </a:fld>
            <a:endParaRPr lang="en-US" altLang="fr-FR"/>
          </a:p>
        </p:txBody>
      </p:sp>
    </p:spTree>
    <p:extLst>
      <p:ext uri="{BB962C8B-B14F-4D97-AF65-F5344CB8AC3E}">
        <p14:creationId xmlns:p14="http://schemas.microsoft.com/office/powerpoint/2010/main" val="3892152631"/>
      </p:ext>
    </p:extLst>
  </p:cSld>
  <p:clrMapOvr>
    <a:masterClrMapping/>
  </p:clrMapOvr>
  <p:transition spd="med">
    <p:cover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AB0A74E5-03EB-F82B-CB43-E9E4C89425B3}"/>
              </a:ext>
            </a:extLst>
          </p:cNvPr>
          <p:cNvSpPr>
            <a:spLocks noGrp="1"/>
          </p:cNvSpPr>
          <p:nvPr>
            <p:ph type="dt" sz="half" idx="10"/>
          </p:nvPr>
        </p:nvSpPr>
        <p:spPr/>
        <p:txBody>
          <a:bodyPr/>
          <a:lstStyle>
            <a:lvl1pPr>
              <a:defRPr/>
            </a:lvl1pPr>
          </a:lstStyle>
          <a:p>
            <a:pPr>
              <a:defRPr/>
            </a:pPr>
            <a:endParaRPr lang="en-US"/>
          </a:p>
        </p:txBody>
      </p:sp>
      <p:sp>
        <p:nvSpPr>
          <p:cNvPr id="4" name="Footer Placeholder 4">
            <a:extLst>
              <a:ext uri="{FF2B5EF4-FFF2-40B4-BE49-F238E27FC236}">
                <a16:creationId xmlns:a16="http://schemas.microsoft.com/office/drawing/2014/main" id="{BD3D9A79-2A8E-F333-7FBF-C378D544B0DD}"/>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29E006DD-1A53-242B-2A69-7AEC01B265A3}"/>
              </a:ext>
            </a:extLst>
          </p:cNvPr>
          <p:cNvSpPr>
            <a:spLocks noGrp="1"/>
          </p:cNvSpPr>
          <p:nvPr>
            <p:ph type="sldNum" sz="quarter" idx="12"/>
          </p:nvPr>
        </p:nvSpPr>
        <p:spPr/>
        <p:txBody>
          <a:bodyPr/>
          <a:lstStyle>
            <a:lvl1pPr>
              <a:defRPr/>
            </a:lvl1pPr>
          </a:lstStyle>
          <a:p>
            <a:pPr>
              <a:defRPr/>
            </a:pPr>
            <a:fld id="{F095E4DC-D194-4EAA-ADA5-EE5D5B954EE6}" type="slidenum">
              <a:rPr lang="en-US" altLang="fr-FR"/>
              <a:pPr>
                <a:defRPr/>
              </a:pPr>
              <a:t>‹N°›</a:t>
            </a:fld>
            <a:endParaRPr lang="en-US" altLang="fr-FR"/>
          </a:p>
        </p:txBody>
      </p:sp>
    </p:spTree>
    <p:extLst>
      <p:ext uri="{BB962C8B-B14F-4D97-AF65-F5344CB8AC3E}">
        <p14:creationId xmlns:p14="http://schemas.microsoft.com/office/powerpoint/2010/main" val="1764431148"/>
      </p:ext>
    </p:extLst>
  </p:cSld>
  <p:clrMapOvr>
    <a:masterClrMapping/>
  </p:clrMapOvr>
  <p:transition spd="med">
    <p:cover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6BC5265E-FF07-F002-C3E3-F14DE0EDA9AD}"/>
              </a:ext>
            </a:extLst>
          </p:cNvPr>
          <p:cNvSpPr>
            <a:spLocks noGrp="1"/>
          </p:cNvSpPr>
          <p:nvPr>
            <p:ph type="dt" sz="half" idx="10"/>
          </p:nvPr>
        </p:nvSpPr>
        <p:spPr/>
        <p:txBody>
          <a:bodyPr/>
          <a:lstStyle>
            <a:lvl1pPr>
              <a:defRPr/>
            </a:lvl1pPr>
          </a:lstStyle>
          <a:p>
            <a:pPr>
              <a:defRPr/>
            </a:pPr>
            <a:endParaRPr lang="en-US"/>
          </a:p>
        </p:txBody>
      </p:sp>
      <p:sp>
        <p:nvSpPr>
          <p:cNvPr id="3" name="Footer Placeholder 4">
            <a:extLst>
              <a:ext uri="{FF2B5EF4-FFF2-40B4-BE49-F238E27FC236}">
                <a16:creationId xmlns:a16="http://schemas.microsoft.com/office/drawing/2014/main" id="{D264AEB3-E5CE-03D7-4239-C9E6C5B57E12}"/>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344DB9DA-BA51-3EB6-F689-DE295D864535}"/>
              </a:ext>
            </a:extLst>
          </p:cNvPr>
          <p:cNvSpPr>
            <a:spLocks noGrp="1"/>
          </p:cNvSpPr>
          <p:nvPr>
            <p:ph type="sldNum" sz="quarter" idx="12"/>
          </p:nvPr>
        </p:nvSpPr>
        <p:spPr/>
        <p:txBody>
          <a:bodyPr/>
          <a:lstStyle>
            <a:lvl1pPr>
              <a:defRPr/>
            </a:lvl1pPr>
          </a:lstStyle>
          <a:p>
            <a:pPr>
              <a:defRPr/>
            </a:pPr>
            <a:fld id="{D34258C3-BAED-466A-8DA4-F71E07763D27}" type="slidenum">
              <a:rPr lang="en-US" altLang="fr-FR"/>
              <a:pPr>
                <a:defRPr/>
              </a:pPr>
              <a:t>‹N°›</a:t>
            </a:fld>
            <a:endParaRPr lang="en-US" altLang="fr-FR"/>
          </a:p>
        </p:txBody>
      </p:sp>
    </p:spTree>
    <p:extLst>
      <p:ext uri="{BB962C8B-B14F-4D97-AF65-F5344CB8AC3E}">
        <p14:creationId xmlns:p14="http://schemas.microsoft.com/office/powerpoint/2010/main" val="2511353209"/>
      </p:ext>
    </p:extLst>
  </p:cSld>
  <p:clrMapOvr>
    <a:masterClrMapping/>
  </p:clrMapOvr>
  <p:transition spd="med">
    <p:cover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462" b="1"/>
            </a:lvl1pPr>
          </a:lstStyle>
          <a:p>
            <a:r>
              <a:rPr lang="en-US"/>
              <a:t>Click to edit Master title style</a:t>
            </a:r>
          </a:p>
        </p:txBody>
      </p:sp>
      <p:sp>
        <p:nvSpPr>
          <p:cNvPr id="3" name="Content Placeholder 2"/>
          <p:cNvSpPr>
            <a:spLocks noGrp="1"/>
          </p:cNvSpPr>
          <p:nvPr>
            <p:ph idx="1"/>
          </p:nvPr>
        </p:nvSpPr>
        <p:spPr>
          <a:xfrm>
            <a:off x="4766734" y="273052"/>
            <a:ext cx="6815666" cy="5853113"/>
          </a:xfrm>
        </p:spPr>
        <p:txBody>
          <a:bodyPr/>
          <a:lstStyle>
            <a:lvl1pPr>
              <a:defRPr sz="3940"/>
            </a:lvl1pPr>
            <a:lvl2pPr>
              <a:defRPr sz="3447"/>
            </a:lvl2pPr>
            <a:lvl3pPr>
              <a:defRPr sz="2955"/>
            </a:lvl3pPr>
            <a:lvl4pPr>
              <a:defRPr sz="2462"/>
            </a:lvl4pPr>
            <a:lvl5pPr>
              <a:defRPr sz="2462"/>
            </a:lvl5pPr>
            <a:lvl6pPr>
              <a:defRPr sz="2462"/>
            </a:lvl6pPr>
            <a:lvl7pPr>
              <a:defRPr sz="2462"/>
            </a:lvl7pPr>
            <a:lvl8pPr>
              <a:defRPr sz="2462"/>
            </a:lvl8pPr>
            <a:lvl9pPr>
              <a:defRPr sz="24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2"/>
            <a:ext cx="4011084" cy="4691063"/>
          </a:xfrm>
        </p:spPr>
        <p:txBody>
          <a:bodyPr/>
          <a:lstStyle>
            <a:lvl1pPr marL="0" indent="0">
              <a:buNone/>
              <a:defRPr sz="1724"/>
            </a:lvl1pPr>
            <a:lvl2pPr marL="562905" indent="0">
              <a:buNone/>
              <a:defRPr sz="1477"/>
            </a:lvl2pPr>
            <a:lvl3pPr marL="1125809" indent="0">
              <a:buNone/>
              <a:defRPr sz="1231"/>
            </a:lvl3pPr>
            <a:lvl4pPr marL="1688714" indent="0">
              <a:buNone/>
              <a:defRPr sz="1108"/>
            </a:lvl4pPr>
            <a:lvl5pPr marL="2251619" indent="0">
              <a:buNone/>
              <a:defRPr sz="1108"/>
            </a:lvl5pPr>
            <a:lvl6pPr marL="2814523" indent="0">
              <a:buNone/>
              <a:defRPr sz="1108"/>
            </a:lvl6pPr>
            <a:lvl7pPr marL="3377428" indent="0">
              <a:buNone/>
              <a:defRPr sz="1108"/>
            </a:lvl7pPr>
            <a:lvl8pPr marL="3940332" indent="0">
              <a:buNone/>
              <a:defRPr sz="1108"/>
            </a:lvl8pPr>
            <a:lvl9pPr marL="4503237" indent="0">
              <a:buNone/>
              <a:defRPr sz="1108"/>
            </a:lvl9pPr>
          </a:lstStyle>
          <a:p>
            <a:pPr lvl="0"/>
            <a:r>
              <a:rPr lang="en-US"/>
              <a:t>Click to edit Master text styles</a:t>
            </a:r>
          </a:p>
        </p:txBody>
      </p:sp>
      <p:sp>
        <p:nvSpPr>
          <p:cNvPr id="5" name="Date Placeholder 3">
            <a:extLst>
              <a:ext uri="{FF2B5EF4-FFF2-40B4-BE49-F238E27FC236}">
                <a16:creationId xmlns:a16="http://schemas.microsoft.com/office/drawing/2014/main" id="{4611E64C-D7AA-E967-C0CC-198D9A5F62F2}"/>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0B55C107-C3BB-FAC5-01CA-DA353E6C0CDE}"/>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B82EF31C-3917-AF5B-D709-B43B11C8DA6C}"/>
              </a:ext>
            </a:extLst>
          </p:cNvPr>
          <p:cNvSpPr>
            <a:spLocks noGrp="1"/>
          </p:cNvSpPr>
          <p:nvPr>
            <p:ph type="sldNum" sz="quarter" idx="12"/>
          </p:nvPr>
        </p:nvSpPr>
        <p:spPr/>
        <p:txBody>
          <a:bodyPr/>
          <a:lstStyle>
            <a:lvl1pPr>
              <a:defRPr/>
            </a:lvl1pPr>
          </a:lstStyle>
          <a:p>
            <a:pPr>
              <a:defRPr/>
            </a:pPr>
            <a:fld id="{46A236C9-CFDC-454D-A696-DCC393A1696D}" type="slidenum">
              <a:rPr lang="en-US" altLang="fr-FR"/>
              <a:pPr>
                <a:defRPr/>
              </a:pPr>
              <a:t>‹N°›</a:t>
            </a:fld>
            <a:endParaRPr lang="en-US" altLang="fr-FR"/>
          </a:p>
        </p:txBody>
      </p:sp>
    </p:spTree>
    <p:extLst>
      <p:ext uri="{BB962C8B-B14F-4D97-AF65-F5344CB8AC3E}">
        <p14:creationId xmlns:p14="http://schemas.microsoft.com/office/powerpoint/2010/main" val="761841019"/>
      </p:ext>
    </p:extLst>
  </p:cSld>
  <p:clrMapOvr>
    <a:masterClrMapping/>
  </p:clrMapOvr>
  <p:transition spd="med">
    <p:cover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0"/>
            <a:ext cx="7315200" cy="566738"/>
          </a:xfrm>
        </p:spPr>
        <p:txBody>
          <a:bodyPr anchor="b"/>
          <a:lstStyle>
            <a:lvl1pPr algn="l">
              <a:defRPr sz="2462"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rtlCol="0">
            <a:normAutofit/>
          </a:bodyPr>
          <a:lstStyle>
            <a:lvl1pPr marL="0" indent="0">
              <a:buNone/>
              <a:defRPr sz="3940"/>
            </a:lvl1pPr>
            <a:lvl2pPr marL="562905" indent="0">
              <a:buNone/>
              <a:defRPr sz="3447"/>
            </a:lvl2pPr>
            <a:lvl3pPr marL="1125809" indent="0">
              <a:buNone/>
              <a:defRPr sz="2955"/>
            </a:lvl3pPr>
            <a:lvl4pPr marL="1688714" indent="0">
              <a:buNone/>
              <a:defRPr sz="2462"/>
            </a:lvl4pPr>
            <a:lvl5pPr marL="2251619" indent="0">
              <a:buNone/>
              <a:defRPr sz="2462"/>
            </a:lvl5pPr>
            <a:lvl6pPr marL="2814523" indent="0">
              <a:buNone/>
              <a:defRPr sz="2462"/>
            </a:lvl6pPr>
            <a:lvl7pPr marL="3377428" indent="0">
              <a:buNone/>
              <a:defRPr sz="2462"/>
            </a:lvl7pPr>
            <a:lvl8pPr marL="3940332" indent="0">
              <a:buNone/>
              <a:defRPr sz="2462"/>
            </a:lvl8pPr>
            <a:lvl9pPr marL="4503237" indent="0">
              <a:buNone/>
              <a:defRPr sz="2462"/>
            </a:lvl9pPr>
          </a:lstStyle>
          <a:p>
            <a:pPr lvl="0"/>
            <a:endParaRPr lang="en-US" noProof="0"/>
          </a:p>
        </p:txBody>
      </p:sp>
      <p:sp>
        <p:nvSpPr>
          <p:cNvPr id="4" name="Text Placeholder 3"/>
          <p:cNvSpPr>
            <a:spLocks noGrp="1"/>
          </p:cNvSpPr>
          <p:nvPr>
            <p:ph type="body" sz="half" idx="2"/>
          </p:nvPr>
        </p:nvSpPr>
        <p:spPr>
          <a:xfrm>
            <a:off x="2389718" y="5367338"/>
            <a:ext cx="7315200" cy="804862"/>
          </a:xfrm>
        </p:spPr>
        <p:txBody>
          <a:bodyPr/>
          <a:lstStyle>
            <a:lvl1pPr marL="0" indent="0">
              <a:buNone/>
              <a:defRPr sz="1724"/>
            </a:lvl1pPr>
            <a:lvl2pPr marL="562905" indent="0">
              <a:buNone/>
              <a:defRPr sz="1477"/>
            </a:lvl2pPr>
            <a:lvl3pPr marL="1125809" indent="0">
              <a:buNone/>
              <a:defRPr sz="1231"/>
            </a:lvl3pPr>
            <a:lvl4pPr marL="1688714" indent="0">
              <a:buNone/>
              <a:defRPr sz="1108"/>
            </a:lvl4pPr>
            <a:lvl5pPr marL="2251619" indent="0">
              <a:buNone/>
              <a:defRPr sz="1108"/>
            </a:lvl5pPr>
            <a:lvl6pPr marL="2814523" indent="0">
              <a:buNone/>
              <a:defRPr sz="1108"/>
            </a:lvl6pPr>
            <a:lvl7pPr marL="3377428" indent="0">
              <a:buNone/>
              <a:defRPr sz="1108"/>
            </a:lvl7pPr>
            <a:lvl8pPr marL="3940332" indent="0">
              <a:buNone/>
              <a:defRPr sz="1108"/>
            </a:lvl8pPr>
            <a:lvl9pPr marL="4503237" indent="0">
              <a:buNone/>
              <a:defRPr sz="1108"/>
            </a:lvl9pPr>
          </a:lstStyle>
          <a:p>
            <a:pPr lvl="0"/>
            <a:r>
              <a:rPr lang="en-US"/>
              <a:t>Click to edit Master text styles</a:t>
            </a:r>
          </a:p>
        </p:txBody>
      </p:sp>
      <p:sp>
        <p:nvSpPr>
          <p:cNvPr id="5" name="Date Placeholder 3">
            <a:extLst>
              <a:ext uri="{FF2B5EF4-FFF2-40B4-BE49-F238E27FC236}">
                <a16:creationId xmlns:a16="http://schemas.microsoft.com/office/drawing/2014/main" id="{03011057-F55B-2726-5A04-B8F9BE33DA9F}"/>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4D34E441-B30D-F244-68CB-6906BD6E58E1}"/>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9678B33C-C6C3-0209-E356-A474F7E32AC0}"/>
              </a:ext>
            </a:extLst>
          </p:cNvPr>
          <p:cNvSpPr>
            <a:spLocks noGrp="1"/>
          </p:cNvSpPr>
          <p:nvPr>
            <p:ph type="sldNum" sz="quarter" idx="12"/>
          </p:nvPr>
        </p:nvSpPr>
        <p:spPr/>
        <p:txBody>
          <a:bodyPr/>
          <a:lstStyle>
            <a:lvl1pPr>
              <a:defRPr/>
            </a:lvl1pPr>
          </a:lstStyle>
          <a:p>
            <a:pPr>
              <a:defRPr/>
            </a:pPr>
            <a:fld id="{8F97C2D8-684D-47AB-BBFD-2E5F36DBB6CC}" type="slidenum">
              <a:rPr lang="en-US" altLang="fr-FR"/>
              <a:pPr>
                <a:defRPr/>
              </a:pPr>
              <a:t>‹N°›</a:t>
            </a:fld>
            <a:endParaRPr lang="en-US" altLang="fr-FR"/>
          </a:p>
        </p:txBody>
      </p:sp>
    </p:spTree>
    <p:extLst>
      <p:ext uri="{BB962C8B-B14F-4D97-AF65-F5344CB8AC3E}">
        <p14:creationId xmlns:p14="http://schemas.microsoft.com/office/powerpoint/2010/main" val="82877920"/>
      </p:ext>
    </p:extLst>
  </p:cSld>
  <p:clrMapOvr>
    <a:masterClrMapping/>
  </p:clrMapOvr>
  <p:transition spd="med">
    <p:cover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3E9E74-FED0-92A5-27EB-2CAFBD0F53E8}"/>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8E9B6EA7-3A5C-97F3-1EA2-864CB9E79797}"/>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3A3B3E2-C7E1-13CB-9C77-5BF776CBA1C3}"/>
              </a:ext>
            </a:extLst>
          </p:cNvPr>
          <p:cNvSpPr>
            <a:spLocks noGrp="1"/>
          </p:cNvSpPr>
          <p:nvPr>
            <p:ph type="sldNum" sz="quarter" idx="12"/>
          </p:nvPr>
        </p:nvSpPr>
        <p:spPr/>
        <p:txBody>
          <a:bodyPr/>
          <a:lstStyle>
            <a:lvl1pPr>
              <a:defRPr/>
            </a:lvl1pPr>
          </a:lstStyle>
          <a:p>
            <a:pPr>
              <a:defRPr/>
            </a:pPr>
            <a:fld id="{E328D068-6A59-41A3-A3CC-D920762B250E}" type="slidenum">
              <a:rPr lang="en-US" altLang="fr-FR"/>
              <a:pPr>
                <a:defRPr/>
              </a:pPr>
              <a:t>‹N°›</a:t>
            </a:fld>
            <a:endParaRPr lang="en-US" altLang="fr-FR"/>
          </a:p>
        </p:txBody>
      </p:sp>
    </p:spTree>
    <p:extLst>
      <p:ext uri="{BB962C8B-B14F-4D97-AF65-F5344CB8AC3E}">
        <p14:creationId xmlns:p14="http://schemas.microsoft.com/office/powerpoint/2010/main" val="481493960"/>
      </p:ext>
    </p:extLst>
  </p:cSld>
  <p:clrMapOvr>
    <a:masterClrMapping/>
  </p:clrMapOvr>
  <p:transition spd="med">
    <p:cover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91AC40-4BB0-FC21-BCC0-4A3F3EFD5AC7}"/>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FF6672A0-719B-DB1A-F126-CE762C468654}"/>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3629D4ED-C1C2-7403-287B-F5599A177662}"/>
              </a:ext>
            </a:extLst>
          </p:cNvPr>
          <p:cNvSpPr>
            <a:spLocks noGrp="1"/>
          </p:cNvSpPr>
          <p:nvPr>
            <p:ph type="sldNum" sz="quarter" idx="12"/>
          </p:nvPr>
        </p:nvSpPr>
        <p:spPr/>
        <p:txBody>
          <a:bodyPr/>
          <a:lstStyle>
            <a:lvl1pPr>
              <a:defRPr/>
            </a:lvl1pPr>
          </a:lstStyle>
          <a:p>
            <a:pPr>
              <a:defRPr/>
            </a:pPr>
            <a:fld id="{AA223403-D9BD-467E-8312-208344337DC4}" type="slidenum">
              <a:rPr lang="en-US" altLang="fr-FR"/>
              <a:pPr>
                <a:defRPr/>
              </a:pPr>
              <a:t>‹N°›</a:t>
            </a:fld>
            <a:endParaRPr lang="en-US" altLang="fr-FR"/>
          </a:p>
        </p:txBody>
      </p:sp>
    </p:spTree>
    <p:extLst>
      <p:ext uri="{BB962C8B-B14F-4D97-AF65-F5344CB8AC3E}">
        <p14:creationId xmlns:p14="http://schemas.microsoft.com/office/powerpoint/2010/main" val="2619874335"/>
      </p:ext>
    </p:extLst>
  </p:cSld>
  <p:clrMapOvr>
    <a:masterClrMapping/>
  </p:clrMapOvr>
  <p:transition spd="med">
    <p:cover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Slide Number Placeholder 5"/>
          <p:cNvSpPr>
            <a:spLocks noGrp="1"/>
          </p:cNvSpPr>
          <p:nvPr>
            <p:ph type="sldNum" sz="quarter" idx="11"/>
          </p:nvPr>
        </p:nvSpPr>
        <p:spPr/>
        <p:txBody>
          <a:bodyPr/>
          <a:lstStyle>
            <a:lvl1pPr>
              <a:defRPr/>
            </a:lvl1pPr>
          </a:lstStyle>
          <a:p>
            <a:pPr>
              <a:defRPr/>
            </a:pPr>
            <a:fld id="{9D80A85F-EE2E-4277-B276-33FB34979C62}" type="slidenum">
              <a:rPr lang="en-US" smtClean="0"/>
              <a:pPr>
                <a:defRPr/>
              </a:pPr>
              <a:t>‹N°›</a:t>
            </a:fld>
            <a:endParaRPr lang="en-US" dirty="0"/>
          </a:p>
        </p:txBody>
      </p:sp>
    </p:spTree>
    <p:extLst>
      <p:ext uri="{BB962C8B-B14F-4D97-AF65-F5344CB8AC3E}">
        <p14:creationId xmlns:p14="http://schemas.microsoft.com/office/powerpoint/2010/main" val="24509401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4" y="274638"/>
            <a:ext cx="10972800" cy="1143000"/>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609604" y="1600206"/>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fld id="{03D5B703-056F-479E-8893-F9987D298CDC}" type="slidenum">
              <a:rPr lang="en-GB" smtClean="0"/>
              <a:pPr/>
              <a:t>‹N°›</a:t>
            </a:fld>
            <a:endParaRPr lang="en-GB"/>
          </a:p>
        </p:txBody>
      </p:sp>
    </p:spTree>
    <p:extLst>
      <p:ext uri="{BB962C8B-B14F-4D97-AF65-F5344CB8AC3E}">
        <p14:creationId xmlns:p14="http://schemas.microsoft.com/office/powerpoint/2010/main" val="9757698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a:xfrm>
            <a:off x="2429937" y="6604000"/>
            <a:ext cx="9084733" cy="254000"/>
          </a:xfrm>
          <a:prstGeom prst="rect">
            <a:avLst/>
          </a:prstGeom>
        </p:spPr>
        <p:txBody>
          <a:bodyPr/>
          <a:lstStyle>
            <a:lvl1pPr>
              <a:defRPr/>
            </a:lvl1pPr>
          </a:lstStyle>
          <a:p>
            <a:pPr>
              <a:defRPr/>
            </a:pPr>
            <a:endParaRPr lang="en-US"/>
          </a:p>
        </p:txBody>
      </p:sp>
      <p:sp>
        <p:nvSpPr>
          <p:cNvPr id="3" name="Slide Number Placeholder 5"/>
          <p:cNvSpPr>
            <a:spLocks noGrp="1"/>
          </p:cNvSpPr>
          <p:nvPr>
            <p:ph type="sldNum" sz="quarter" idx="11"/>
          </p:nvPr>
        </p:nvSpPr>
        <p:spPr/>
        <p:txBody>
          <a:bodyPr/>
          <a:lstStyle>
            <a:lvl1pPr>
              <a:defRPr/>
            </a:lvl1pPr>
          </a:lstStyle>
          <a:p>
            <a:pPr>
              <a:defRPr/>
            </a:pPr>
            <a:fld id="{48191064-2E5B-41BE-9E6F-A9927B9AA32C}" type="slidenum">
              <a:rPr lang="en-US" smtClean="0"/>
              <a:pPr>
                <a:defRPr/>
              </a:pPr>
              <a:t>‹N°›</a:t>
            </a:fld>
            <a:endParaRPr lang="en-US" dirty="0"/>
          </a:p>
        </p:txBody>
      </p:sp>
    </p:spTree>
    <p:extLst>
      <p:ext uri="{BB962C8B-B14F-4D97-AF65-F5344CB8AC3E}">
        <p14:creationId xmlns:p14="http://schemas.microsoft.com/office/powerpoint/2010/main" val="11004802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endParaRPr lang="en-US"/>
          </a:p>
        </p:txBody>
      </p:sp>
      <p:sp>
        <p:nvSpPr>
          <p:cNvPr id="3" name="Slide Number Placeholder 5"/>
          <p:cNvSpPr>
            <a:spLocks noGrp="1"/>
          </p:cNvSpPr>
          <p:nvPr>
            <p:ph type="sldNum" sz="quarter" idx="11"/>
          </p:nvPr>
        </p:nvSpPr>
        <p:spPr/>
        <p:txBody>
          <a:bodyPr/>
          <a:lstStyle>
            <a:lvl1pPr>
              <a:defRPr/>
            </a:lvl1pPr>
          </a:lstStyle>
          <a:p>
            <a:pPr>
              <a:defRPr/>
            </a:pPr>
            <a:fld id="{9D80A85F-EE2E-4277-B276-33FB34979C62}" type="slidenum">
              <a:rPr lang="en-US"/>
              <a:pPr>
                <a:defRPr/>
              </a:pPr>
              <a:t>‹N°›</a:t>
            </a:fld>
            <a:endParaRPr lang="en-US" dirty="0"/>
          </a:p>
        </p:txBody>
      </p:sp>
    </p:spTree>
    <p:extLst>
      <p:ext uri="{BB962C8B-B14F-4D97-AF65-F5344CB8AC3E}">
        <p14:creationId xmlns:p14="http://schemas.microsoft.com/office/powerpoint/2010/main" val="429357257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5" Type="http://schemas.openxmlformats.org/officeDocument/2006/relationships/image" Target="../media/image2.jpe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10" Type="http://schemas.openxmlformats.org/officeDocument/2006/relationships/image" Target="../media/image3.jpeg"/><Relationship Id="rId4" Type="http://schemas.openxmlformats.org/officeDocument/2006/relationships/slideLayout" Target="../slideLayouts/slideLayout12.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19.xml"/><Relationship Id="rId7" Type="http://schemas.openxmlformats.org/officeDocument/2006/relationships/theme" Target="../theme/theme4.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slideLayout" Target="../slideLayouts/slideLayout37.xml"/><Relationship Id="rId1" Type="http://schemas.openxmlformats.org/officeDocument/2006/relationships/slideLayout" Target="../slideLayouts/slideLayout36.xml"/><Relationship Id="rId5" Type="http://schemas.openxmlformats.org/officeDocument/2006/relationships/image" Target="../media/image1.jpeg"/><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image" Target="../media/image3.jpeg"/><Relationship Id="rId5" Type="http://schemas.openxmlformats.org/officeDocument/2006/relationships/slideLayout" Target="../slideLayouts/slideLayout43.xml"/><Relationship Id="rId10" Type="http://schemas.openxmlformats.org/officeDocument/2006/relationships/theme" Target="../theme/theme7.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8.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050" name="Picture 6" descr="GPEI inside pages.jpg"/>
          <p:cNvPicPr>
            <a:picLocks noChangeAspect="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5"/>
          <p:cNvSpPr>
            <a:spLocks noGrp="1"/>
          </p:cNvSpPr>
          <p:nvPr>
            <p:ph type="sldNum" sz="quarter" idx="4"/>
          </p:nvPr>
        </p:nvSpPr>
        <p:spPr>
          <a:xfrm>
            <a:off x="0" y="6604000"/>
            <a:ext cx="2370016" cy="254000"/>
          </a:xfrm>
          <a:prstGeom prst="rect">
            <a:avLst/>
          </a:prstGeom>
        </p:spPr>
        <p:txBody>
          <a:bodyPr vert="horz" lIns="91440" tIns="45720" rIns="91440" bIns="45720" rtlCol="0" anchor="ctr"/>
          <a:lstStyle>
            <a:lvl1pPr algn="r" defTabSz="457200" fontAlgn="auto">
              <a:spcBef>
                <a:spcPts val="0"/>
              </a:spcBef>
              <a:spcAft>
                <a:spcPts val="0"/>
              </a:spcAft>
              <a:defRPr sz="1200">
                <a:solidFill>
                  <a:prstClr val="white"/>
                </a:solidFill>
                <a:latin typeface="+mn-lt"/>
                <a:cs typeface="+mn-cs"/>
              </a:defRPr>
            </a:lvl1pPr>
          </a:lstStyle>
          <a:p>
            <a:pPr eaLnBrk="1" hangingPunct="1">
              <a:defRPr/>
            </a:pPr>
            <a:fld id="{9E64F902-AC44-4D3A-950E-4CCB65B6F726}" type="slidenum">
              <a:rPr lang="en-US">
                <a:ea typeface="+mn-ea"/>
              </a:rPr>
              <a:pPr eaLnBrk="1" hangingPunct="1">
                <a:defRPr/>
              </a:pPr>
              <a:t>‹N°›</a:t>
            </a:fld>
            <a:endParaRPr lang="en-US" dirty="0">
              <a:ea typeface="+mn-ea"/>
            </a:endParaRPr>
          </a:p>
        </p:txBody>
      </p:sp>
    </p:spTree>
    <p:extLst>
      <p:ext uri="{BB962C8B-B14F-4D97-AF65-F5344CB8AC3E}">
        <p14:creationId xmlns:p14="http://schemas.microsoft.com/office/powerpoint/2010/main" val="134860434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716" r:id="rId4"/>
    <p:sldLayoutId id="2147483718" r:id="rId5"/>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itchFamily="34" charset="0"/>
        </a:defRPr>
      </a:lvl2pPr>
      <a:lvl3pPr algn="ctr" defTabSz="457200" rtl="0" eaLnBrk="0" fontAlgn="base" hangingPunct="0">
        <a:spcBef>
          <a:spcPct val="0"/>
        </a:spcBef>
        <a:spcAft>
          <a:spcPct val="0"/>
        </a:spcAft>
        <a:defRPr sz="4400">
          <a:solidFill>
            <a:schemeClr val="tx1"/>
          </a:solidFill>
          <a:latin typeface="Calibri" pitchFamily="34" charset="0"/>
        </a:defRPr>
      </a:lvl3pPr>
      <a:lvl4pPr algn="ctr" defTabSz="457200" rtl="0" eaLnBrk="0" fontAlgn="base" hangingPunct="0">
        <a:spcBef>
          <a:spcPct val="0"/>
        </a:spcBef>
        <a:spcAft>
          <a:spcPct val="0"/>
        </a:spcAft>
        <a:defRPr sz="4400">
          <a:solidFill>
            <a:schemeClr val="tx1"/>
          </a:solidFill>
          <a:latin typeface="Calibri" pitchFamily="34" charset="0"/>
        </a:defRPr>
      </a:lvl4pPr>
      <a:lvl5pPr algn="ctr" defTabSz="457200" rtl="0" eaLnBrk="0" fontAlgn="base" hangingPunct="0">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6" descr="GPEI inside pages.jp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sp>
        <p:nvSpPr>
          <p:cNvPr id="6" name="Slide Number Placeholder 5"/>
          <p:cNvSpPr>
            <a:spLocks noGrp="1"/>
          </p:cNvSpPr>
          <p:nvPr>
            <p:ph type="sldNum" sz="quarter" idx="4"/>
          </p:nvPr>
        </p:nvSpPr>
        <p:spPr>
          <a:xfrm>
            <a:off x="3" y="6604000"/>
            <a:ext cx="2370667" cy="254000"/>
          </a:xfrm>
          <a:prstGeom prst="rect">
            <a:avLst/>
          </a:prstGeom>
        </p:spPr>
        <p:txBody>
          <a:bodyPr vert="horz" lIns="91440" tIns="45720" rIns="91440" bIns="45720" rtlCol="0" anchor="ctr"/>
          <a:lstStyle>
            <a:lvl1pPr algn="r" fontAlgn="auto">
              <a:spcBef>
                <a:spcPts val="0"/>
              </a:spcBef>
              <a:spcAft>
                <a:spcPts val="0"/>
              </a:spcAft>
              <a:defRPr sz="1200">
                <a:solidFill>
                  <a:schemeClr val="bg1"/>
                </a:solidFill>
                <a:latin typeface="+mn-lt"/>
                <a:cs typeface="+mn-cs"/>
              </a:defRPr>
            </a:lvl1pPr>
          </a:lstStyle>
          <a:p>
            <a:pPr>
              <a:defRPr/>
            </a:pPr>
            <a:fld id="{5CB9A389-E42F-4682-8D9E-ADBAEC272BDE}" type="slidenum">
              <a:rPr lang="en-US" smtClean="0"/>
              <a:pPr>
                <a:defRPr/>
              </a:pPr>
              <a:t>‹N°›</a:t>
            </a:fld>
            <a:endParaRPr lang="en-US" dirty="0"/>
          </a:p>
        </p:txBody>
      </p:sp>
    </p:spTree>
    <p:extLst>
      <p:ext uri="{BB962C8B-B14F-4D97-AF65-F5344CB8AC3E}">
        <p14:creationId xmlns:p14="http://schemas.microsoft.com/office/powerpoint/2010/main" val="3926144796"/>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Lst>
  <p:hf hdr="0" ftr="0" dt="0"/>
  <p:txStyles>
    <p:titleStyle>
      <a:lvl1pPr algn="ctr" defTabSz="457200" rtl="0" eaLnBrk="1" fontAlgn="base" hangingPunct="1">
        <a:spcBef>
          <a:spcPct val="0"/>
        </a:spcBef>
        <a:spcAft>
          <a:spcPct val="0"/>
        </a:spcAft>
        <a:defRPr sz="4400" kern="1200">
          <a:solidFill>
            <a:schemeClr val="tx1"/>
          </a:solidFill>
          <a:latin typeface="+mj-lt"/>
          <a:ea typeface="+mj-ea"/>
          <a:cs typeface="+mj-cs"/>
        </a:defRPr>
      </a:lvl1pPr>
      <a:lvl2pPr algn="ctr" defTabSz="457200" rtl="0" eaLnBrk="1" fontAlgn="base" hangingPunct="1">
        <a:spcBef>
          <a:spcPct val="0"/>
        </a:spcBef>
        <a:spcAft>
          <a:spcPct val="0"/>
        </a:spcAft>
        <a:defRPr sz="4400">
          <a:solidFill>
            <a:schemeClr val="tx1"/>
          </a:solidFill>
          <a:latin typeface="Calibri" pitchFamily="34" charset="0"/>
        </a:defRPr>
      </a:lvl2pPr>
      <a:lvl3pPr algn="ctr" defTabSz="457200" rtl="0" eaLnBrk="1" fontAlgn="base" hangingPunct="1">
        <a:spcBef>
          <a:spcPct val="0"/>
        </a:spcBef>
        <a:spcAft>
          <a:spcPct val="0"/>
        </a:spcAft>
        <a:defRPr sz="4400">
          <a:solidFill>
            <a:schemeClr val="tx1"/>
          </a:solidFill>
          <a:latin typeface="Calibri" pitchFamily="34" charset="0"/>
        </a:defRPr>
      </a:lvl3pPr>
      <a:lvl4pPr algn="ctr" defTabSz="457200" rtl="0" eaLnBrk="1" fontAlgn="base" hangingPunct="1">
        <a:spcBef>
          <a:spcPct val="0"/>
        </a:spcBef>
        <a:spcAft>
          <a:spcPct val="0"/>
        </a:spcAft>
        <a:defRPr sz="4400">
          <a:solidFill>
            <a:schemeClr val="tx1"/>
          </a:solidFill>
          <a:latin typeface="Calibri" pitchFamily="34" charset="0"/>
        </a:defRPr>
      </a:lvl4pPr>
      <a:lvl5pPr algn="ctr" defTabSz="457200" rtl="0" eaLnBrk="1" fontAlgn="base" hangingPunct="1">
        <a:spcBef>
          <a:spcPct val="0"/>
        </a:spcBef>
        <a:spcAft>
          <a:spcPct val="0"/>
        </a:spcAft>
        <a:defRPr sz="4400">
          <a:solidFill>
            <a:schemeClr val="tx1"/>
          </a:solidFill>
          <a:latin typeface="Calibri" pitchFamily="34" charset="0"/>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6" descr="GPEI inside pages.jpg"/>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sp>
        <p:nvSpPr>
          <p:cNvPr id="5" name="Footer Placeholder 4"/>
          <p:cNvSpPr>
            <a:spLocks noGrp="1"/>
          </p:cNvSpPr>
          <p:nvPr>
            <p:ph type="ftr" sz="quarter" idx="3"/>
          </p:nvPr>
        </p:nvSpPr>
        <p:spPr>
          <a:xfrm>
            <a:off x="2429937" y="6604000"/>
            <a:ext cx="9084733" cy="254000"/>
          </a:xfrm>
          <a:prstGeom prst="rect">
            <a:avLst/>
          </a:prstGeom>
        </p:spPr>
        <p:txBody>
          <a:bodyPr vert="horz" wrap="square" lIns="91440" tIns="45720" rIns="91440" bIns="45720" numCol="1" anchor="ctr" anchorCtr="0" compatLnSpc="1">
            <a:prstTxWarp prst="textNoShape">
              <a:avLst/>
            </a:prstTxWarp>
          </a:bodyPr>
          <a:lstStyle>
            <a:lvl1pPr>
              <a:defRPr sz="1200">
                <a:solidFill>
                  <a:schemeClr val="bg1"/>
                </a:solidFill>
                <a:latin typeface="Calibri" pitchFamily="34" charset="0"/>
              </a:defRPr>
            </a:lvl1pPr>
          </a:lstStyle>
          <a:p>
            <a:pPr>
              <a:defRPr/>
            </a:pPr>
            <a:endParaRPr lang="en-US"/>
          </a:p>
        </p:txBody>
      </p:sp>
      <p:sp>
        <p:nvSpPr>
          <p:cNvPr id="6" name="Slide Number Placeholder 5"/>
          <p:cNvSpPr>
            <a:spLocks noGrp="1"/>
          </p:cNvSpPr>
          <p:nvPr>
            <p:ph type="sldNum" sz="quarter" idx="4"/>
          </p:nvPr>
        </p:nvSpPr>
        <p:spPr>
          <a:xfrm>
            <a:off x="2" y="6604000"/>
            <a:ext cx="2370667" cy="254000"/>
          </a:xfrm>
          <a:prstGeom prst="rect">
            <a:avLst/>
          </a:prstGeom>
        </p:spPr>
        <p:txBody>
          <a:bodyPr vert="horz" lIns="91440" tIns="45720" rIns="91440" bIns="45720" rtlCol="0" anchor="ctr"/>
          <a:lstStyle>
            <a:lvl1pPr algn="r" fontAlgn="auto">
              <a:spcBef>
                <a:spcPts val="0"/>
              </a:spcBef>
              <a:spcAft>
                <a:spcPts val="0"/>
              </a:spcAft>
              <a:defRPr sz="1200">
                <a:solidFill>
                  <a:schemeClr val="bg1"/>
                </a:solidFill>
                <a:latin typeface="+mn-lt"/>
                <a:cs typeface="+mn-cs"/>
              </a:defRPr>
            </a:lvl1pPr>
          </a:lstStyle>
          <a:p>
            <a:pPr>
              <a:defRPr/>
            </a:pPr>
            <a:fld id="{5CB9A389-E42F-4682-8D9E-ADBAEC272BDE}" type="slidenum">
              <a:rPr lang="en-US"/>
              <a:pPr>
                <a:defRPr/>
              </a:pPr>
              <a:t>‹N°›</a:t>
            </a:fld>
            <a:endParaRPr lang="en-US" dirty="0"/>
          </a:p>
        </p:txBody>
      </p:sp>
    </p:spTree>
    <p:extLst>
      <p:ext uri="{BB962C8B-B14F-4D97-AF65-F5344CB8AC3E}">
        <p14:creationId xmlns:p14="http://schemas.microsoft.com/office/powerpoint/2010/main" val="237299645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4" r:id="rId4"/>
    <p:sldLayoutId id="2147483675" r:id="rId5"/>
    <p:sldLayoutId id="2147483677" r:id="rId6"/>
    <p:sldLayoutId id="2147483678" r:id="rId7"/>
    <p:sldLayoutId id="2147483679" r:id="rId8"/>
  </p:sldLayoutIdLst>
  <p:hf hdr="0" ftr="0" dt="0"/>
  <p:txStyles>
    <p:titleStyle>
      <a:lvl1pPr algn="ctr" defTabSz="457200" rtl="0" eaLnBrk="1" fontAlgn="base" hangingPunct="1">
        <a:spcBef>
          <a:spcPct val="0"/>
        </a:spcBef>
        <a:spcAft>
          <a:spcPct val="0"/>
        </a:spcAft>
        <a:defRPr sz="4400" kern="1200">
          <a:solidFill>
            <a:schemeClr val="tx1"/>
          </a:solidFill>
          <a:latin typeface="+mj-lt"/>
          <a:ea typeface="+mj-ea"/>
          <a:cs typeface="+mj-cs"/>
        </a:defRPr>
      </a:lvl1pPr>
      <a:lvl2pPr algn="ctr" defTabSz="457200" rtl="0" eaLnBrk="1" fontAlgn="base" hangingPunct="1">
        <a:spcBef>
          <a:spcPct val="0"/>
        </a:spcBef>
        <a:spcAft>
          <a:spcPct val="0"/>
        </a:spcAft>
        <a:defRPr sz="4400">
          <a:solidFill>
            <a:schemeClr val="tx1"/>
          </a:solidFill>
          <a:latin typeface="Calibri" pitchFamily="34" charset="0"/>
        </a:defRPr>
      </a:lvl2pPr>
      <a:lvl3pPr algn="ctr" defTabSz="457200" rtl="0" eaLnBrk="1" fontAlgn="base" hangingPunct="1">
        <a:spcBef>
          <a:spcPct val="0"/>
        </a:spcBef>
        <a:spcAft>
          <a:spcPct val="0"/>
        </a:spcAft>
        <a:defRPr sz="4400">
          <a:solidFill>
            <a:schemeClr val="tx1"/>
          </a:solidFill>
          <a:latin typeface="Calibri" pitchFamily="34" charset="0"/>
        </a:defRPr>
      </a:lvl3pPr>
      <a:lvl4pPr algn="ctr" defTabSz="457200" rtl="0" eaLnBrk="1" fontAlgn="base" hangingPunct="1">
        <a:spcBef>
          <a:spcPct val="0"/>
        </a:spcBef>
        <a:spcAft>
          <a:spcPct val="0"/>
        </a:spcAft>
        <a:defRPr sz="4400">
          <a:solidFill>
            <a:schemeClr val="tx1"/>
          </a:solidFill>
          <a:latin typeface="Calibri" pitchFamily="34" charset="0"/>
        </a:defRPr>
      </a:lvl4pPr>
      <a:lvl5pPr algn="ctr" defTabSz="457200" rtl="0" eaLnBrk="1" fontAlgn="base" hangingPunct="1">
        <a:spcBef>
          <a:spcPct val="0"/>
        </a:spcBef>
        <a:spcAft>
          <a:spcPct val="0"/>
        </a:spcAft>
        <a:defRPr sz="4400">
          <a:solidFill>
            <a:schemeClr val="tx1"/>
          </a:solidFill>
          <a:latin typeface="Calibri" pitchFamily="34" charset="0"/>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6" descr="GPEI inside pages.jpg"/>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sp>
        <p:nvSpPr>
          <p:cNvPr id="6" name="Slide Number Placeholder 5"/>
          <p:cNvSpPr>
            <a:spLocks noGrp="1"/>
          </p:cNvSpPr>
          <p:nvPr>
            <p:ph type="sldNum" sz="quarter" idx="4"/>
          </p:nvPr>
        </p:nvSpPr>
        <p:spPr>
          <a:xfrm>
            <a:off x="3" y="6604000"/>
            <a:ext cx="2370667" cy="254000"/>
          </a:xfrm>
          <a:prstGeom prst="rect">
            <a:avLst/>
          </a:prstGeom>
        </p:spPr>
        <p:txBody>
          <a:bodyPr vert="horz" lIns="91440" tIns="45720" rIns="91440" bIns="45720" rtlCol="0" anchor="ctr"/>
          <a:lstStyle>
            <a:lvl1pPr algn="r" fontAlgn="auto">
              <a:spcBef>
                <a:spcPts val="0"/>
              </a:spcBef>
              <a:spcAft>
                <a:spcPts val="0"/>
              </a:spcAft>
              <a:defRPr sz="1200">
                <a:solidFill>
                  <a:schemeClr val="bg1"/>
                </a:solidFill>
                <a:latin typeface="+mn-lt"/>
                <a:cs typeface="+mn-cs"/>
              </a:defRPr>
            </a:lvl1pPr>
          </a:lstStyle>
          <a:p>
            <a:pPr>
              <a:defRPr/>
            </a:pPr>
            <a:fld id="{5CB9A389-E42F-4682-8D9E-ADBAEC272BDE}" type="slidenum">
              <a:rPr lang="en-US" smtClean="0"/>
              <a:pPr>
                <a:defRPr/>
              </a:pPr>
              <a:t>‹N°›</a:t>
            </a:fld>
            <a:endParaRPr lang="en-US" dirty="0"/>
          </a:p>
        </p:txBody>
      </p:sp>
    </p:spTree>
    <p:extLst>
      <p:ext uri="{BB962C8B-B14F-4D97-AF65-F5344CB8AC3E}">
        <p14:creationId xmlns:p14="http://schemas.microsoft.com/office/powerpoint/2010/main" val="68040092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Lst>
  <p:txStyles>
    <p:titleStyle>
      <a:lvl1pPr algn="ctr" defTabSz="457200" rtl="0" eaLnBrk="1" fontAlgn="base" hangingPunct="1">
        <a:spcBef>
          <a:spcPct val="0"/>
        </a:spcBef>
        <a:spcAft>
          <a:spcPct val="0"/>
        </a:spcAft>
        <a:defRPr sz="4400" kern="1200">
          <a:solidFill>
            <a:schemeClr val="tx1"/>
          </a:solidFill>
          <a:latin typeface="+mj-lt"/>
          <a:ea typeface="+mj-ea"/>
          <a:cs typeface="+mj-cs"/>
        </a:defRPr>
      </a:lvl1pPr>
      <a:lvl2pPr algn="ctr" defTabSz="457200" rtl="0" eaLnBrk="1" fontAlgn="base" hangingPunct="1">
        <a:spcBef>
          <a:spcPct val="0"/>
        </a:spcBef>
        <a:spcAft>
          <a:spcPct val="0"/>
        </a:spcAft>
        <a:defRPr sz="4400">
          <a:solidFill>
            <a:schemeClr val="tx1"/>
          </a:solidFill>
          <a:latin typeface="Calibri" pitchFamily="34" charset="0"/>
        </a:defRPr>
      </a:lvl2pPr>
      <a:lvl3pPr algn="ctr" defTabSz="457200" rtl="0" eaLnBrk="1" fontAlgn="base" hangingPunct="1">
        <a:spcBef>
          <a:spcPct val="0"/>
        </a:spcBef>
        <a:spcAft>
          <a:spcPct val="0"/>
        </a:spcAft>
        <a:defRPr sz="4400">
          <a:solidFill>
            <a:schemeClr val="tx1"/>
          </a:solidFill>
          <a:latin typeface="Calibri" pitchFamily="34" charset="0"/>
        </a:defRPr>
      </a:lvl3pPr>
      <a:lvl4pPr algn="ctr" defTabSz="457200" rtl="0" eaLnBrk="1" fontAlgn="base" hangingPunct="1">
        <a:spcBef>
          <a:spcPct val="0"/>
        </a:spcBef>
        <a:spcAft>
          <a:spcPct val="0"/>
        </a:spcAft>
        <a:defRPr sz="4400">
          <a:solidFill>
            <a:schemeClr val="tx1"/>
          </a:solidFill>
          <a:latin typeface="Calibri" pitchFamily="34" charset="0"/>
        </a:defRPr>
      </a:lvl4pPr>
      <a:lvl5pPr algn="ctr" defTabSz="457200" rtl="0" eaLnBrk="1" fontAlgn="base" hangingPunct="1">
        <a:spcBef>
          <a:spcPct val="0"/>
        </a:spcBef>
        <a:spcAft>
          <a:spcPct val="0"/>
        </a:spcAft>
        <a:defRPr sz="4400">
          <a:solidFill>
            <a:schemeClr val="tx1"/>
          </a:solidFill>
          <a:latin typeface="Calibri" pitchFamily="34" charset="0"/>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FB534E8-6B0C-8A41-9869-A3F5CDF2CC98}" type="datetimeFigureOut">
              <a:rPr lang="en-US" smtClean="0"/>
              <a:t>10/19/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041C85-46E5-8649-8CB5-559295B1D80A}" type="slidenum">
              <a:rPr lang="en-US" smtClean="0"/>
              <a:t>‹N°›</a:t>
            </a:fld>
            <a:endParaRPr lang="en-US" dirty="0"/>
          </a:p>
        </p:txBody>
      </p:sp>
    </p:spTree>
    <p:extLst>
      <p:ext uri="{BB962C8B-B14F-4D97-AF65-F5344CB8AC3E}">
        <p14:creationId xmlns:p14="http://schemas.microsoft.com/office/powerpoint/2010/main" val="288563235"/>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050" name="Picture 6" descr="GPEI inside pages.jpg"/>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5"/>
          <p:cNvSpPr>
            <a:spLocks noGrp="1"/>
          </p:cNvSpPr>
          <p:nvPr>
            <p:ph type="sldNum" sz="quarter" idx="4"/>
          </p:nvPr>
        </p:nvSpPr>
        <p:spPr>
          <a:xfrm>
            <a:off x="0" y="6604000"/>
            <a:ext cx="2370016" cy="254000"/>
          </a:xfrm>
          <a:prstGeom prst="rect">
            <a:avLst/>
          </a:prstGeom>
        </p:spPr>
        <p:txBody>
          <a:bodyPr vert="horz" lIns="91440" tIns="45720" rIns="91440" bIns="45720" rtlCol="0" anchor="ctr"/>
          <a:lstStyle>
            <a:lvl1pPr algn="r" defTabSz="457200" fontAlgn="auto">
              <a:spcBef>
                <a:spcPts val="0"/>
              </a:spcBef>
              <a:spcAft>
                <a:spcPts val="0"/>
              </a:spcAft>
              <a:defRPr sz="1200">
                <a:solidFill>
                  <a:prstClr val="white"/>
                </a:solidFill>
                <a:latin typeface="+mn-lt"/>
                <a:cs typeface="+mn-cs"/>
              </a:defRPr>
            </a:lvl1pPr>
          </a:lstStyle>
          <a:p>
            <a:pPr>
              <a:defRPr/>
            </a:pPr>
            <a:fld id="{9E64F902-AC44-4D3A-950E-4CCB65B6F726}" type="slidenum">
              <a:rPr lang="en-US"/>
              <a:pPr>
                <a:defRPr/>
              </a:pPr>
              <a:t>‹N°›</a:t>
            </a:fld>
            <a:endParaRPr lang="en-US" dirty="0"/>
          </a:p>
        </p:txBody>
      </p:sp>
    </p:spTree>
    <p:extLst>
      <p:ext uri="{BB962C8B-B14F-4D97-AF65-F5344CB8AC3E}">
        <p14:creationId xmlns:p14="http://schemas.microsoft.com/office/powerpoint/2010/main" val="3391778679"/>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3" r:id="rId3"/>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itchFamily="34" charset="0"/>
        </a:defRPr>
      </a:lvl2pPr>
      <a:lvl3pPr algn="ctr" defTabSz="457200" rtl="0" eaLnBrk="0" fontAlgn="base" hangingPunct="0">
        <a:spcBef>
          <a:spcPct val="0"/>
        </a:spcBef>
        <a:spcAft>
          <a:spcPct val="0"/>
        </a:spcAft>
        <a:defRPr sz="4400">
          <a:solidFill>
            <a:schemeClr val="tx1"/>
          </a:solidFill>
          <a:latin typeface="Calibri" pitchFamily="34" charset="0"/>
        </a:defRPr>
      </a:lvl3pPr>
      <a:lvl4pPr algn="ctr" defTabSz="457200" rtl="0" eaLnBrk="0" fontAlgn="base" hangingPunct="0">
        <a:spcBef>
          <a:spcPct val="0"/>
        </a:spcBef>
        <a:spcAft>
          <a:spcPct val="0"/>
        </a:spcAft>
        <a:defRPr sz="4400">
          <a:solidFill>
            <a:schemeClr val="tx1"/>
          </a:solidFill>
          <a:latin typeface="Calibri" pitchFamily="34" charset="0"/>
        </a:defRPr>
      </a:lvl4pPr>
      <a:lvl5pPr algn="ctr" defTabSz="457200" rtl="0" eaLnBrk="0" fontAlgn="base" hangingPunct="0">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6" descr="GPEI inside pages.jpg"/>
          <p:cNvPicPr>
            <a:picLocks noChangeAspect="1"/>
          </p:cNvPicPr>
          <p:nvPr/>
        </p:nvPicPr>
        <p:blipFill>
          <a:blip r:embed="rId11"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sp>
        <p:nvSpPr>
          <p:cNvPr id="5" name="Footer Placeholder 4"/>
          <p:cNvSpPr>
            <a:spLocks noGrp="1"/>
          </p:cNvSpPr>
          <p:nvPr>
            <p:ph type="ftr" sz="quarter" idx="3"/>
          </p:nvPr>
        </p:nvSpPr>
        <p:spPr>
          <a:xfrm>
            <a:off x="2429937" y="6604000"/>
            <a:ext cx="9084733" cy="254000"/>
          </a:xfrm>
          <a:prstGeom prst="rect">
            <a:avLst/>
          </a:prstGeom>
        </p:spPr>
        <p:txBody>
          <a:bodyPr vert="horz" wrap="square" lIns="91440" tIns="45720" rIns="91440" bIns="45720" numCol="1" anchor="ctr" anchorCtr="0" compatLnSpc="1">
            <a:prstTxWarp prst="textNoShape">
              <a:avLst/>
            </a:prstTxWarp>
          </a:bodyPr>
          <a:lstStyle>
            <a:lvl1pPr>
              <a:defRPr sz="1200">
                <a:solidFill>
                  <a:schemeClr val="bg1"/>
                </a:solidFill>
                <a:latin typeface="Calibri" pitchFamily="34" charset="0"/>
              </a:defRPr>
            </a:lvl1pPr>
          </a:lstStyle>
          <a:p>
            <a:pPr>
              <a:defRPr/>
            </a:pPr>
            <a:endParaRPr lang="en-US"/>
          </a:p>
        </p:txBody>
      </p:sp>
      <p:sp>
        <p:nvSpPr>
          <p:cNvPr id="6" name="Slide Number Placeholder 5"/>
          <p:cNvSpPr>
            <a:spLocks noGrp="1"/>
          </p:cNvSpPr>
          <p:nvPr>
            <p:ph type="sldNum" sz="quarter" idx="4"/>
          </p:nvPr>
        </p:nvSpPr>
        <p:spPr>
          <a:xfrm>
            <a:off x="2" y="6604000"/>
            <a:ext cx="2370667" cy="254000"/>
          </a:xfrm>
          <a:prstGeom prst="rect">
            <a:avLst/>
          </a:prstGeom>
        </p:spPr>
        <p:txBody>
          <a:bodyPr vert="horz" lIns="91440" tIns="45720" rIns="91440" bIns="45720" rtlCol="0" anchor="ctr"/>
          <a:lstStyle>
            <a:lvl1pPr algn="r" fontAlgn="auto">
              <a:spcBef>
                <a:spcPts val="0"/>
              </a:spcBef>
              <a:spcAft>
                <a:spcPts val="0"/>
              </a:spcAft>
              <a:defRPr sz="1200">
                <a:solidFill>
                  <a:schemeClr val="bg1"/>
                </a:solidFill>
                <a:latin typeface="+mn-lt"/>
                <a:cs typeface="+mn-cs"/>
              </a:defRPr>
            </a:lvl1pPr>
          </a:lstStyle>
          <a:p>
            <a:pPr>
              <a:defRPr/>
            </a:pPr>
            <a:fld id="{5CB9A389-E42F-4682-8D9E-ADBAEC272BDE}" type="slidenum">
              <a:rPr lang="en-US"/>
              <a:pPr>
                <a:defRPr/>
              </a:pPr>
              <a:t>‹N°›</a:t>
            </a:fld>
            <a:endParaRPr lang="en-US" dirty="0"/>
          </a:p>
        </p:txBody>
      </p:sp>
    </p:spTree>
    <p:extLst>
      <p:ext uri="{BB962C8B-B14F-4D97-AF65-F5344CB8AC3E}">
        <p14:creationId xmlns:p14="http://schemas.microsoft.com/office/powerpoint/2010/main" val="351408864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Lst>
  <p:hf hdr="0" ftr="0" dt="0"/>
  <p:txStyles>
    <p:titleStyle>
      <a:lvl1pPr algn="ctr" defTabSz="457200" rtl="0" eaLnBrk="1" fontAlgn="base" hangingPunct="1">
        <a:spcBef>
          <a:spcPct val="0"/>
        </a:spcBef>
        <a:spcAft>
          <a:spcPct val="0"/>
        </a:spcAft>
        <a:defRPr sz="4400" kern="1200">
          <a:solidFill>
            <a:schemeClr val="tx1"/>
          </a:solidFill>
          <a:latin typeface="+mj-lt"/>
          <a:ea typeface="+mj-ea"/>
          <a:cs typeface="+mj-cs"/>
        </a:defRPr>
      </a:lvl1pPr>
      <a:lvl2pPr algn="ctr" defTabSz="457200" rtl="0" eaLnBrk="1" fontAlgn="base" hangingPunct="1">
        <a:spcBef>
          <a:spcPct val="0"/>
        </a:spcBef>
        <a:spcAft>
          <a:spcPct val="0"/>
        </a:spcAft>
        <a:defRPr sz="4400">
          <a:solidFill>
            <a:schemeClr val="tx1"/>
          </a:solidFill>
          <a:latin typeface="Calibri" pitchFamily="34" charset="0"/>
        </a:defRPr>
      </a:lvl2pPr>
      <a:lvl3pPr algn="ctr" defTabSz="457200" rtl="0" eaLnBrk="1" fontAlgn="base" hangingPunct="1">
        <a:spcBef>
          <a:spcPct val="0"/>
        </a:spcBef>
        <a:spcAft>
          <a:spcPct val="0"/>
        </a:spcAft>
        <a:defRPr sz="4400">
          <a:solidFill>
            <a:schemeClr val="tx1"/>
          </a:solidFill>
          <a:latin typeface="Calibri" pitchFamily="34" charset="0"/>
        </a:defRPr>
      </a:lvl3pPr>
      <a:lvl4pPr algn="ctr" defTabSz="457200" rtl="0" eaLnBrk="1" fontAlgn="base" hangingPunct="1">
        <a:spcBef>
          <a:spcPct val="0"/>
        </a:spcBef>
        <a:spcAft>
          <a:spcPct val="0"/>
        </a:spcAft>
        <a:defRPr sz="4400">
          <a:solidFill>
            <a:schemeClr val="tx1"/>
          </a:solidFill>
          <a:latin typeface="Calibri" pitchFamily="34" charset="0"/>
        </a:defRPr>
      </a:lvl4pPr>
      <a:lvl5pPr algn="ctr" defTabSz="457200" rtl="0" eaLnBrk="1" fontAlgn="base" hangingPunct="1">
        <a:spcBef>
          <a:spcPct val="0"/>
        </a:spcBef>
        <a:spcAft>
          <a:spcPct val="0"/>
        </a:spcAft>
        <a:defRPr sz="4400">
          <a:solidFill>
            <a:schemeClr val="tx1"/>
          </a:solidFill>
          <a:latin typeface="Calibri" pitchFamily="34" charset="0"/>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A296C9A0-6F92-665B-D16C-410E1F19A8EB}"/>
              </a:ext>
            </a:extLst>
          </p:cNvPr>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fr-FR"/>
              <a:t>Click to edit Master title style</a:t>
            </a:r>
          </a:p>
        </p:txBody>
      </p:sp>
      <p:sp>
        <p:nvSpPr>
          <p:cNvPr id="1027" name="Text Placeholder 2">
            <a:extLst>
              <a:ext uri="{FF2B5EF4-FFF2-40B4-BE49-F238E27FC236}">
                <a16:creationId xmlns:a16="http://schemas.microsoft.com/office/drawing/2014/main" id="{60F9AC8F-F33B-0EC5-FFA2-8BD19A8F61E5}"/>
              </a:ext>
            </a:extLst>
          </p:cNvPr>
          <p:cNvSpPr>
            <a:spLocks noGrp="1" noChangeArrowheads="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a:p>
            <a:pPr lvl="4"/>
            <a:r>
              <a:rPr lang="en-US" altLang="fr-FR"/>
              <a:t>Fifth level</a:t>
            </a:r>
          </a:p>
        </p:txBody>
      </p:sp>
      <p:sp>
        <p:nvSpPr>
          <p:cNvPr id="4" name="Date Placeholder 3">
            <a:extLst>
              <a:ext uri="{FF2B5EF4-FFF2-40B4-BE49-F238E27FC236}">
                <a16:creationId xmlns:a16="http://schemas.microsoft.com/office/drawing/2014/main" id="{4CB697CD-5BB5-8E4E-35C4-13F48B551028}"/>
              </a:ext>
            </a:extLst>
          </p:cNvPr>
          <p:cNvSpPr>
            <a:spLocks noGrp="1"/>
          </p:cNvSpPr>
          <p:nvPr>
            <p:ph type="dt" sz="half" idx="2"/>
          </p:nvPr>
        </p:nvSpPr>
        <p:spPr>
          <a:xfrm>
            <a:off x="609600" y="6356350"/>
            <a:ext cx="2843213" cy="365125"/>
          </a:xfrm>
          <a:prstGeom prst="rect">
            <a:avLst/>
          </a:prstGeom>
        </p:spPr>
        <p:txBody>
          <a:bodyPr vert="horz" lIns="91440" tIns="45720" rIns="91440" bIns="45720" rtlCol="0" anchor="ctr"/>
          <a:lstStyle>
            <a:lvl1pPr algn="l">
              <a:spcBef>
                <a:spcPct val="75000"/>
              </a:spcBef>
              <a:defRPr sz="1477">
                <a:solidFill>
                  <a:schemeClr val="tx1">
                    <a:tint val="75000"/>
                  </a:schemeClr>
                </a:solidFill>
                <a:latin typeface="Arial" charset="0"/>
              </a:defRPr>
            </a:lvl1pPr>
          </a:lstStyle>
          <a:p>
            <a:pPr>
              <a:defRPr/>
            </a:pPr>
            <a:endParaRPr lang="en-US"/>
          </a:p>
        </p:txBody>
      </p:sp>
      <p:sp>
        <p:nvSpPr>
          <p:cNvPr id="5" name="Footer Placeholder 4">
            <a:extLst>
              <a:ext uri="{FF2B5EF4-FFF2-40B4-BE49-F238E27FC236}">
                <a16:creationId xmlns:a16="http://schemas.microsoft.com/office/drawing/2014/main" id="{A68011C1-02F1-DF14-9463-BD26B23CD546}"/>
              </a:ext>
            </a:extLst>
          </p:cNvPr>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spcBef>
                <a:spcPct val="75000"/>
              </a:spcBef>
              <a:defRPr sz="1477">
                <a:solidFill>
                  <a:schemeClr val="tx1">
                    <a:tint val="75000"/>
                  </a:schemeClr>
                </a:solidFill>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53467A22-39A4-AD83-796A-5EA973AEA4A4}"/>
              </a:ext>
            </a:extLst>
          </p:cNvPr>
          <p:cNvSpPr>
            <a:spLocks noGrp="1"/>
          </p:cNvSpPr>
          <p:nvPr>
            <p:ph type="sldNum" sz="quarter" idx="4"/>
          </p:nvPr>
        </p:nvSpPr>
        <p:spPr>
          <a:xfrm>
            <a:off x="8739188" y="6356350"/>
            <a:ext cx="2843212" cy="365125"/>
          </a:xfrm>
          <a:prstGeom prst="rect">
            <a:avLst/>
          </a:prstGeom>
        </p:spPr>
        <p:txBody>
          <a:bodyPr vert="horz" wrap="square" lIns="91440" tIns="45720" rIns="91440" bIns="45720" numCol="1" anchor="ctr" anchorCtr="0" compatLnSpc="1">
            <a:prstTxWarp prst="textNoShape">
              <a:avLst/>
            </a:prstTxWarp>
          </a:bodyPr>
          <a:lstStyle>
            <a:lvl1pPr algn="r">
              <a:spcBef>
                <a:spcPct val="75000"/>
              </a:spcBef>
              <a:defRPr sz="1477">
                <a:solidFill>
                  <a:srgbClr val="898989"/>
                </a:solidFill>
              </a:defRPr>
            </a:lvl1pPr>
          </a:lstStyle>
          <a:p>
            <a:pPr>
              <a:defRPr/>
            </a:pPr>
            <a:fld id="{C390FB80-4E26-4934-AB21-69C8CC4712C1}" type="slidenum">
              <a:rPr lang="en-US" altLang="fr-FR"/>
              <a:pPr>
                <a:defRPr/>
              </a:pPr>
              <a:t>‹N°›</a:t>
            </a:fld>
            <a:endParaRPr lang="en-US" altLang="fr-FR"/>
          </a:p>
        </p:txBody>
      </p:sp>
    </p:spTree>
    <p:extLst>
      <p:ext uri="{BB962C8B-B14F-4D97-AF65-F5344CB8AC3E}">
        <p14:creationId xmlns:p14="http://schemas.microsoft.com/office/powerpoint/2010/main" val="318787752"/>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Lst>
  <p:transition spd="med">
    <p:cover dir="r"/>
  </p:transition>
  <p:txStyles>
    <p:titleStyle>
      <a:lvl1pPr algn="ctr" rtl="0" eaLnBrk="0" fontAlgn="base" hangingPunct="0">
        <a:spcBef>
          <a:spcPct val="0"/>
        </a:spcBef>
        <a:spcAft>
          <a:spcPct val="0"/>
        </a:spcAft>
        <a:defRPr sz="5400" kern="1200">
          <a:solidFill>
            <a:schemeClr val="tx1"/>
          </a:solidFill>
          <a:latin typeface="+mj-lt"/>
          <a:ea typeface="+mj-ea"/>
          <a:cs typeface="+mj-cs"/>
        </a:defRPr>
      </a:lvl1pPr>
      <a:lvl2pPr algn="ctr" rtl="0" eaLnBrk="0" fontAlgn="base" hangingPunct="0">
        <a:spcBef>
          <a:spcPct val="0"/>
        </a:spcBef>
        <a:spcAft>
          <a:spcPct val="0"/>
        </a:spcAft>
        <a:defRPr sz="5400">
          <a:solidFill>
            <a:schemeClr val="tx1"/>
          </a:solidFill>
          <a:latin typeface="Calibri" pitchFamily="34" charset="0"/>
        </a:defRPr>
      </a:lvl2pPr>
      <a:lvl3pPr algn="ctr" rtl="0" eaLnBrk="0" fontAlgn="base" hangingPunct="0">
        <a:spcBef>
          <a:spcPct val="0"/>
        </a:spcBef>
        <a:spcAft>
          <a:spcPct val="0"/>
        </a:spcAft>
        <a:defRPr sz="5400">
          <a:solidFill>
            <a:schemeClr val="tx1"/>
          </a:solidFill>
          <a:latin typeface="Calibri" pitchFamily="34" charset="0"/>
        </a:defRPr>
      </a:lvl3pPr>
      <a:lvl4pPr algn="ctr" rtl="0" eaLnBrk="0" fontAlgn="base" hangingPunct="0">
        <a:spcBef>
          <a:spcPct val="0"/>
        </a:spcBef>
        <a:spcAft>
          <a:spcPct val="0"/>
        </a:spcAft>
        <a:defRPr sz="5400">
          <a:solidFill>
            <a:schemeClr val="tx1"/>
          </a:solidFill>
          <a:latin typeface="Calibri" pitchFamily="34" charset="0"/>
        </a:defRPr>
      </a:lvl4pPr>
      <a:lvl5pPr algn="ctr" rtl="0" eaLnBrk="0" fontAlgn="base" hangingPunct="0">
        <a:spcBef>
          <a:spcPct val="0"/>
        </a:spcBef>
        <a:spcAft>
          <a:spcPct val="0"/>
        </a:spcAft>
        <a:defRPr sz="5400">
          <a:solidFill>
            <a:schemeClr val="tx1"/>
          </a:solidFill>
          <a:latin typeface="Calibri" pitchFamily="34" charset="0"/>
        </a:defRPr>
      </a:lvl5pPr>
      <a:lvl6pPr marL="562905" algn="ctr" rtl="0" fontAlgn="base">
        <a:spcBef>
          <a:spcPct val="0"/>
        </a:spcBef>
        <a:spcAft>
          <a:spcPct val="0"/>
        </a:spcAft>
        <a:defRPr sz="5417">
          <a:solidFill>
            <a:schemeClr val="tx1"/>
          </a:solidFill>
          <a:latin typeface="Calibri" pitchFamily="34" charset="0"/>
        </a:defRPr>
      </a:lvl6pPr>
      <a:lvl7pPr marL="1125809" algn="ctr" rtl="0" fontAlgn="base">
        <a:spcBef>
          <a:spcPct val="0"/>
        </a:spcBef>
        <a:spcAft>
          <a:spcPct val="0"/>
        </a:spcAft>
        <a:defRPr sz="5417">
          <a:solidFill>
            <a:schemeClr val="tx1"/>
          </a:solidFill>
          <a:latin typeface="Calibri" pitchFamily="34" charset="0"/>
        </a:defRPr>
      </a:lvl7pPr>
      <a:lvl8pPr marL="1688714" algn="ctr" rtl="0" fontAlgn="base">
        <a:spcBef>
          <a:spcPct val="0"/>
        </a:spcBef>
        <a:spcAft>
          <a:spcPct val="0"/>
        </a:spcAft>
        <a:defRPr sz="5417">
          <a:solidFill>
            <a:schemeClr val="tx1"/>
          </a:solidFill>
          <a:latin typeface="Calibri" pitchFamily="34" charset="0"/>
        </a:defRPr>
      </a:lvl8pPr>
      <a:lvl9pPr marL="2251619" algn="ctr" rtl="0" fontAlgn="base">
        <a:spcBef>
          <a:spcPct val="0"/>
        </a:spcBef>
        <a:spcAft>
          <a:spcPct val="0"/>
        </a:spcAft>
        <a:defRPr sz="5417">
          <a:solidFill>
            <a:schemeClr val="tx1"/>
          </a:solidFill>
          <a:latin typeface="Calibri" pitchFamily="34" charset="0"/>
        </a:defRPr>
      </a:lvl9pPr>
    </p:titleStyle>
    <p:bodyStyle>
      <a:lvl1pPr marL="420688" indent="-420688" algn="l" rtl="0" eaLnBrk="0" fontAlgn="base" hangingPunct="0">
        <a:spcBef>
          <a:spcPct val="20000"/>
        </a:spcBef>
        <a:spcAft>
          <a:spcPct val="0"/>
        </a:spcAft>
        <a:buFont typeface="Arial" panose="020B0604020202020204" pitchFamily="34" charset="0"/>
        <a:buChar char="•"/>
        <a:defRPr sz="3900" kern="1200">
          <a:solidFill>
            <a:schemeClr val="tx1"/>
          </a:solidFill>
          <a:latin typeface="+mn-lt"/>
          <a:ea typeface="+mn-ea"/>
          <a:cs typeface="+mn-cs"/>
        </a:defRPr>
      </a:lvl1pPr>
      <a:lvl2pPr marL="914400" indent="-350838"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2pPr>
      <a:lvl3pPr marL="1406525" indent="-280988" algn="l" rtl="0" eaLnBrk="0" fontAlgn="base" hangingPunct="0">
        <a:spcBef>
          <a:spcPct val="20000"/>
        </a:spcBef>
        <a:spcAft>
          <a:spcPct val="0"/>
        </a:spcAft>
        <a:buFont typeface="Arial" panose="020B0604020202020204" pitchFamily="34" charset="0"/>
        <a:buChar char="•"/>
        <a:defRPr sz="2900" kern="1200">
          <a:solidFill>
            <a:schemeClr val="tx1"/>
          </a:solidFill>
          <a:latin typeface="+mn-lt"/>
          <a:ea typeface="+mn-ea"/>
          <a:cs typeface="+mn-cs"/>
        </a:defRPr>
      </a:lvl3pPr>
      <a:lvl4pPr marL="1970088" indent="-280988"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4pPr>
      <a:lvl5pPr marL="2532063" indent="-280988"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5pPr>
      <a:lvl6pPr marL="3095976" indent="-281452" algn="l" defTabSz="1125809" rtl="0" eaLnBrk="1" latinLnBrk="0" hangingPunct="1">
        <a:spcBef>
          <a:spcPct val="20000"/>
        </a:spcBef>
        <a:buFont typeface="Arial" pitchFamily="34" charset="0"/>
        <a:buChar char="•"/>
        <a:defRPr sz="2462" kern="1200">
          <a:solidFill>
            <a:schemeClr val="tx1"/>
          </a:solidFill>
          <a:latin typeface="+mn-lt"/>
          <a:ea typeface="+mn-ea"/>
          <a:cs typeface="+mn-cs"/>
        </a:defRPr>
      </a:lvl6pPr>
      <a:lvl7pPr marL="3658880" indent="-281452" algn="l" defTabSz="1125809" rtl="0" eaLnBrk="1" latinLnBrk="0" hangingPunct="1">
        <a:spcBef>
          <a:spcPct val="20000"/>
        </a:spcBef>
        <a:buFont typeface="Arial" pitchFamily="34" charset="0"/>
        <a:buChar char="•"/>
        <a:defRPr sz="2462" kern="1200">
          <a:solidFill>
            <a:schemeClr val="tx1"/>
          </a:solidFill>
          <a:latin typeface="+mn-lt"/>
          <a:ea typeface="+mn-ea"/>
          <a:cs typeface="+mn-cs"/>
        </a:defRPr>
      </a:lvl7pPr>
      <a:lvl8pPr marL="4221785" indent="-281452" algn="l" defTabSz="1125809" rtl="0" eaLnBrk="1" latinLnBrk="0" hangingPunct="1">
        <a:spcBef>
          <a:spcPct val="20000"/>
        </a:spcBef>
        <a:buFont typeface="Arial" pitchFamily="34" charset="0"/>
        <a:buChar char="•"/>
        <a:defRPr sz="2462" kern="1200">
          <a:solidFill>
            <a:schemeClr val="tx1"/>
          </a:solidFill>
          <a:latin typeface="+mn-lt"/>
          <a:ea typeface="+mn-ea"/>
          <a:cs typeface="+mn-cs"/>
        </a:defRPr>
      </a:lvl8pPr>
      <a:lvl9pPr marL="4784689" indent="-281452" algn="l" defTabSz="1125809" rtl="0" eaLnBrk="1" latinLnBrk="0" hangingPunct="1">
        <a:spcBef>
          <a:spcPct val="20000"/>
        </a:spcBef>
        <a:buFont typeface="Arial" pitchFamily="34" charset="0"/>
        <a:buChar char="•"/>
        <a:defRPr sz="2462" kern="1200">
          <a:solidFill>
            <a:schemeClr val="tx1"/>
          </a:solidFill>
          <a:latin typeface="+mn-lt"/>
          <a:ea typeface="+mn-ea"/>
          <a:cs typeface="+mn-cs"/>
        </a:defRPr>
      </a:lvl9pPr>
    </p:bodyStyle>
    <p:otherStyle>
      <a:defPPr>
        <a:defRPr lang="en-US"/>
      </a:defPPr>
      <a:lvl1pPr marL="0" algn="l" defTabSz="1125809" rtl="0" eaLnBrk="1" latinLnBrk="0" hangingPunct="1">
        <a:defRPr sz="2216" kern="1200">
          <a:solidFill>
            <a:schemeClr val="tx1"/>
          </a:solidFill>
          <a:latin typeface="+mn-lt"/>
          <a:ea typeface="+mn-ea"/>
          <a:cs typeface="+mn-cs"/>
        </a:defRPr>
      </a:lvl1pPr>
      <a:lvl2pPr marL="562905" algn="l" defTabSz="1125809" rtl="0" eaLnBrk="1" latinLnBrk="0" hangingPunct="1">
        <a:defRPr sz="2216" kern="1200">
          <a:solidFill>
            <a:schemeClr val="tx1"/>
          </a:solidFill>
          <a:latin typeface="+mn-lt"/>
          <a:ea typeface="+mn-ea"/>
          <a:cs typeface="+mn-cs"/>
        </a:defRPr>
      </a:lvl2pPr>
      <a:lvl3pPr marL="1125809" algn="l" defTabSz="1125809" rtl="0" eaLnBrk="1" latinLnBrk="0" hangingPunct="1">
        <a:defRPr sz="2216" kern="1200">
          <a:solidFill>
            <a:schemeClr val="tx1"/>
          </a:solidFill>
          <a:latin typeface="+mn-lt"/>
          <a:ea typeface="+mn-ea"/>
          <a:cs typeface="+mn-cs"/>
        </a:defRPr>
      </a:lvl3pPr>
      <a:lvl4pPr marL="1688714" algn="l" defTabSz="1125809" rtl="0" eaLnBrk="1" latinLnBrk="0" hangingPunct="1">
        <a:defRPr sz="2216" kern="1200">
          <a:solidFill>
            <a:schemeClr val="tx1"/>
          </a:solidFill>
          <a:latin typeface="+mn-lt"/>
          <a:ea typeface="+mn-ea"/>
          <a:cs typeface="+mn-cs"/>
        </a:defRPr>
      </a:lvl4pPr>
      <a:lvl5pPr marL="2251619" algn="l" defTabSz="1125809" rtl="0" eaLnBrk="1" latinLnBrk="0" hangingPunct="1">
        <a:defRPr sz="2216" kern="1200">
          <a:solidFill>
            <a:schemeClr val="tx1"/>
          </a:solidFill>
          <a:latin typeface="+mn-lt"/>
          <a:ea typeface="+mn-ea"/>
          <a:cs typeface="+mn-cs"/>
        </a:defRPr>
      </a:lvl5pPr>
      <a:lvl6pPr marL="2814523" algn="l" defTabSz="1125809" rtl="0" eaLnBrk="1" latinLnBrk="0" hangingPunct="1">
        <a:defRPr sz="2216" kern="1200">
          <a:solidFill>
            <a:schemeClr val="tx1"/>
          </a:solidFill>
          <a:latin typeface="+mn-lt"/>
          <a:ea typeface="+mn-ea"/>
          <a:cs typeface="+mn-cs"/>
        </a:defRPr>
      </a:lvl6pPr>
      <a:lvl7pPr marL="3377428" algn="l" defTabSz="1125809" rtl="0" eaLnBrk="1" latinLnBrk="0" hangingPunct="1">
        <a:defRPr sz="2216" kern="1200">
          <a:solidFill>
            <a:schemeClr val="tx1"/>
          </a:solidFill>
          <a:latin typeface="+mn-lt"/>
          <a:ea typeface="+mn-ea"/>
          <a:cs typeface="+mn-cs"/>
        </a:defRPr>
      </a:lvl7pPr>
      <a:lvl8pPr marL="3940332" algn="l" defTabSz="1125809" rtl="0" eaLnBrk="1" latinLnBrk="0" hangingPunct="1">
        <a:defRPr sz="2216" kern="1200">
          <a:solidFill>
            <a:schemeClr val="tx1"/>
          </a:solidFill>
          <a:latin typeface="+mn-lt"/>
          <a:ea typeface="+mn-ea"/>
          <a:cs typeface="+mn-cs"/>
        </a:defRPr>
      </a:lvl8pPr>
      <a:lvl9pPr marL="4503237" algn="l" defTabSz="1125809" rtl="0" eaLnBrk="1" latinLnBrk="0" hangingPunct="1">
        <a:defRPr sz="221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gif"/><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44.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0" Type="http://schemas.openxmlformats.org/officeDocument/2006/relationships/image" Target="../media/image12.png"/><Relationship Id="rId4" Type="http://schemas.openxmlformats.org/officeDocument/2006/relationships/image" Target="../media/image6.jpeg"/><Relationship Id="rId9" Type="http://schemas.openxmlformats.org/officeDocument/2006/relationships/image" Target="../media/image11.jpeg"/></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37.xml"/><Relationship Id="rId6" Type="http://schemas.openxmlformats.org/officeDocument/2006/relationships/image" Target="../media/image12.png"/><Relationship Id="rId5" Type="http://schemas.openxmlformats.org/officeDocument/2006/relationships/image" Target="../media/image13.jpeg"/><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0.xml"/><Relationship Id="rId1" Type="http://schemas.openxmlformats.org/officeDocument/2006/relationships/slideLayout" Target="../slideLayouts/slideLayout38.xml"/><Relationship Id="rId5" Type="http://schemas.openxmlformats.org/officeDocument/2006/relationships/image" Target="../media/image12.png"/><Relationship Id="rId4" Type="http://schemas.openxmlformats.org/officeDocument/2006/relationships/image" Target="../media/image13.jpeg"/></Relationships>
</file>

<file path=ppt/slides/_rels/slide1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1.xml"/><Relationship Id="rId1" Type="http://schemas.openxmlformats.org/officeDocument/2006/relationships/slideLayout" Target="../slideLayouts/slideLayout1.xml"/><Relationship Id="rId5" Type="http://schemas.openxmlformats.org/officeDocument/2006/relationships/image" Target="../media/image12.png"/><Relationship Id="rId4" Type="http://schemas.openxmlformats.org/officeDocument/2006/relationships/image" Target="../media/image13.jpeg"/></Relationships>
</file>

<file path=ppt/slides/_rels/slide1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12.png"/><Relationship Id="rId1" Type="http://schemas.openxmlformats.org/officeDocument/2006/relationships/slideLayout" Target="../slideLayouts/slideLayout54.xml"/></Relationships>
</file>

<file path=ppt/slides/_rels/slide14.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50.png"/><Relationship Id="rId11" Type="http://schemas.openxmlformats.org/officeDocument/2006/relationships/image" Target="../media/image12.png"/><Relationship Id="rId5" Type="http://schemas.openxmlformats.org/officeDocument/2006/relationships/image" Target="../media/image49.png"/><Relationship Id="rId10" Type="http://schemas.openxmlformats.org/officeDocument/2006/relationships/image" Target="../media/image13.jpeg"/><Relationship Id="rId4" Type="http://schemas.openxmlformats.org/officeDocument/2006/relationships/image" Target="../media/image48.png"/><Relationship Id="rId9" Type="http://schemas.openxmlformats.org/officeDocument/2006/relationships/image" Target="../media/image53.png"/></Relationships>
</file>

<file path=ppt/slides/_rels/slide1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4.xml"/></Relationships>
</file>

<file path=ppt/slides/_rels/slide1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54.xml"/></Relationships>
</file>

<file path=ppt/slides/_rels/slide1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54.xml"/></Relationships>
</file>

<file path=ppt/slides/_rels/slide1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54.xml"/></Relationships>
</file>

<file path=ppt/slides/_rels/slide1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12.png"/><Relationship Id="rId4" Type="http://schemas.openxmlformats.org/officeDocument/2006/relationships/image" Target="../media/image13.jpeg"/></Relationships>
</file>

<file path=ppt/slides/_rels/slide2.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17.jfif"/><Relationship Id="rId5" Type="http://schemas.openxmlformats.org/officeDocument/2006/relationships/image" Target="../media/image16.jpeg"/><Relationship Id="rId4" Type="http://schemas.openxmlformats.org/officeDocument/2006/relationships/image" Target="../media/image15.emf"/></Relationships>
</file>

<file path=ppt/slides/_rels/slide2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4.xml"/><Relationship Id="rId1" Type="http://schemas.openxmlformats.org/officeDocument/2006/relationships/slideLayout" Target="../slideLayouts/slideLayout24.xml"/><Relationship Id="rId5" Type="http://schemas.openxmlformats.org/officeDocument/2006/relationships/image" Target="../media/image61.jpeg"/><Relationship Id="rId4" Type="http://schemas.openxmlformats.org/officeDocument/2006/relationships/image" Target="../media/image60.jpeg"/></Relationships>
</file>

<file path=ppt/slides/_rels/slide21.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image" Target="../media/image63.jpeg"/><Relationship Id="rId7" Type="http://schemas.openxmlformats.org/officeDocument/2006/relationships/image" Target="../media/image65.jpeg"/><Relationship Id="rId2" Type="http://schemas.openxmlformats.org/officeDocument/2006/relationships/image" Target="../media/image62.emf"/><Relationship Id="rId1" Type="http://schemas.openxmlformats.org/officeDocument/2006/relationships/slideLayout" Target="../slideLayouts/slideLayout16.xml"/><Relationship Id="rId6" Type="http://schemas.openxmlformats.org/officeDocument/2006/relationships/image" Target="../media/image64.jpeg"/><Relationship Id="rId5" Type="http://schemas.openxmlformats.org/officeDocument/2006/relationships/image" Target="../media/image12.png"/><Relationship Id="rId10" Type="http://schemas.openxmlformats.org/officeDocument/2006/relationships/hyperlink" Target="https://cerclepolioplus.org/" TargetMode="External"/><Relationship Id="rId4" Type="http://schemas.openxmlformats.org/officeDocument/2006/relationships/image" Target="../media/image13.jpeg"/><Relationship Id="rId9" Type="http://schemas.openxmlformats.org/officeDocument/2006/relationships/image" Target="../media/image67.jpg"/></Relationships>
</file>

<file path=ppt/slides/_rels/slide2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12.png"/><Relationship Id="rId4" Type="http://schemas.openxmlformats.org/officeDocument/2006/relationships/image" Target="../media/image13.jpeg"/></Relationships>
</file>

<file path=ppt/slides/_rels/slide23.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3.jpeg"/></Relationships>
</file>

<file path=ppt/slides/_rels/slide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image" Target="../media/image13.jpeg"/><Relationship Id="rId5" Type="http://schemas.openxmlformats.org/officeDocument/2006/relationships/image" Target="../media/image12.png"/><Relationship Id="rId4" Type="http://schemas.openxmlformats.org/officeDocument/2006/relationships/image" Target="../media/image19.jpeg"/></Relationships>
</file>

<file path=ppt/slides/_rels/slide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3.jpe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jpe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jpeg"/></Relationships>
</file>

<file path=ppt/slides/_rels/slide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7.xml"/><Relationship Id="rId1" Type="http://schemas.openxmlformats.org/officeDocument/2006/relationships/slideLayout" Target="../slideLayouts/slideLayout37.xml"/><Relationship Id="rId5" Type="http://schemas.openxmlformats.org/officeDocument/2006/relationships/image" Target="../media/image12.png"/><Relationship Id="rId4" Type="http://schemas.openxmlformats.org/officeDocument/2006/relationships/image" Target="../media/image13.jpeg"/></Relationships>
</file>

<file path=ppt/slides/_rels/slide8.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1.svg"/><Relationship Id="rId3" Type="http://schemas.openxmlformats.org/officeDocument/2006/relationships/image" Target="../media/image12.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image" Target="../media/image31.png"/><Relationship Id="rId1" Type="http://schemas.openxmlformats.org/officeDocument/2006/relationships/slideLayout" Target="../slideLayouts/slideLayout1.xml"/><Relationship Id="rId6" Type="http://schemas.openxmlformats.org/officeDocument/2006/relationships/image" Target="../media/image34.svg"/><Relationship Id="rId11" Type="http://schemas.openxmlformats.org/officeDocument/2006/relationships/image" Target="../media/image39.sv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svg"/><Relationship Id="rId14" Type="http://schemas.openxmlformats.org/officeDocument/2006/relationships/image" Target="../media/image13.jpeg"/></Relationships>
</file>

<file path=ppt/slides/_rels/slide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37.xml"/><Relationship Id="rId5" Type="http://schemas.openxmlformats.org/officeDocument/2006/relationships/image" Target="../media/image13.jpe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43" name="TextBox 4"/>
          <p:cNvSpPr txBox="1">
            <a:spLocks noChangeArrowheads="1"/>
          </p:cNvSpPr>
          <p:nvPr/>
        </p:nvSpPr>
        <p:spPr bwMode="auto">
          <a:xfrm>
            <a:off x="2587593" y="3028319"/>
            <a:ext cx="9699321" cy="989039"/>
          </a:xfrm>
          <a:prstGeom prst="rect">
            <a:avLst/>
          </a:prstGeom>
        </p:spPr>
        <p:txBody>
          <a:bodyPr lIns="0" tIns="93600" rIns="0" bIns="0"/>
          <a:lstStyle>
            <a:lvl1pPr defTabSz="457200" eaLnBrk="0" hangingPunct="0">
              <a:defRPr>
                <a:solidFill>
                  <a:schemeClr val="tx1"/>
                </a:solidFill>
                <a:latin typeface="Arial" charset="0"/>
                <a:cs typeface="Arial" charset="0"/>
              </a:defRPr>
            </a:lvl1pPr>
            <a:lvl2pPr marL="742950" indent="-285750" defTabSz="457200" eaLnBrk="0" hangingPunct="0">
              <a:defRPr>
                <a:solidFill>
                  <a:schemeClr val="tx1"/>
                </a:solidFill>
                <a:latin typeface="Arial" charset="0"/>
                <a:cs typeface="Arial" charset="0"/>
              </a:defRPr>
            </a:lvl2pPr>
            <a:lvl3pPr marL="1143000" indent="-228600" defTabSz="457200" eaLnBrk="0" hangingPunct="0">
              <a:defRPr>
                <a:solidFill>
                  <a:schemeClr val="tx1"/>
                </a:solidFill>
                <a:latin typeface="Arial" charset="0"/>
                <a:cs typeface="Arial" charset="0"/>
              </a:defRPr>
            </a:lvl3pPr>
            <a:lvl4pPr marL="1600200" indent="-228600" defTabSz="457200" eaLnBrk="0" hangingPunct="0">
              <a:defRPr>
                <a:solidFill>
                  <a:schemeClr val="tx1"/>
                </a:solidFill>
                <a:latin typeface="Arial" charset="0"/>
                <a:cs typeface="Arial" charset="0"/>
              </a:defRPr>
            </a:lvl4pPr>
            <a:lvl5pPr marL="2057400" indent="-228600" defTabSz="457200" eaLnBrk="0" hangingPunct="0">
              <a:defRPr>
                <a:solidFill>
                  <a:schemeClr val="tx1"/>
                </a:solidFill>
                <a:latin typeface="Arial" charset="0"/>
                <a:cs typeface="Arial" charset="0"/>
              </a:defRPr>
            </a:lvl5pPr>
            <a:lvl6pPr marL="2514600" indent="-228600" defTabSz="457200" eaLnBrk="0" fontAlgn="base" hangingPunct="0">
              <a:spcBef>
                <a:spcPct val="0"/>
              </a:spcBef>
              <a:spcAft>
                <a:spcPct val="0"/>
              </a:spcAft>
              <a:defRPr>
                <a:solidFill>
                  <a:schemeClr val="tx1"/>
                </a:solidFill>
                <a:latin typeface="Arial" charset="0"/>
                <a:cs typeface="Arial" charset="0"/>
              </a:defRPr>
            </a:lvl6pPr>
            <a:lvl7pPr marL="2971800" indent="-228600" defTabSz="457200" eaLnBrk="0" fontAlgn="base" hangingPunct="0">
              <a:spcBef>
                <a:spcPct val="0"/>
              </a:spcBef>
              <a:spcAft>
                <a:spcPct val="0"/>
              </a:spcAft>
              <a:defRPr>
                <a:solidFill>
                  <a:schemeClr val="tx1"/>
                </a:solidFill>
                <a:latin typeface="Arial" charset="0"/>
                <a:cs typeface="Arial" charset="0"/>
              </a:defRPr>
            </a:lvl7pPr>
            <a:lvl8pPr marL="3429000" indent="-228600" defTabSz="457200" eaLnBrk="0" fontAlgn="base" hangingPunct="0">
              <a:spcBef>
                <a:spcPct val="0"/>
              </a:spcBef>
              <a:spcAft>
                <a:spcPct val="0"/>
              </a:spcAft>
              <a:defRPr>
                <a:solidFill>
                  <a:schemeClr val="tx1"/>
                </a:solidFill>
                <a:latin typeface="Arial" charset="0"/>
                <a:cs typeface="Arial" charset="0"/>
              </a:defRPr>
            </a:lvl8pPr>
            <a:lvl9pPr marL="3886200" indent="-228600" defTabSz="4572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ts val="300"/>
              </a:spcBef>
              <a:spcAft>
                <a:spcPct val="0"/>
              </a:spcAft>
              <a:buClrTx/>
              <a:buSzTx/>
              <a:buFontTx/>
              <a:buNone/>
              <a:tabLst/>
              <a:defRPr/>
            </a:pPr>
            <a:r>
              <a:rPr kumimoji="0" lang="fr-FR" sz="2800" b="1" i="0" u="none" strike="noStrike" kern="1200" cap="none" spc="0" normalizeH="0" baseline="0" noProof="0" dirty="0">
                <a:ln>
                  <a:noFill/>
                </a:ln>
                <a:solidFill>
                  <a:srgbClr val="FFFFFF"/>
                </a:solidFill>
                <a:effectLst/>
                <a:uLnTx/>
                <a:uFillTx/>
                <a:latin typeface="Calibri"/>
                <a:ea typeface="+mn-ea"/>
                <a:cs typeface="Lucida Sans Unicode" pitchFamily="34" charset="0"/>
              </a:rPr>
              <a:t>Diner- Conférence du District 1710 </a:t>
            </a:r>
          </a:p>
          <a:p>
            <a:pPr marL="0" marR="0" lvl="0" indent="0" algn="l" defTabSz="914400" rtl="0" eaLnBrk="1" fontAlgn="base" latinLnBrk="0" hangingPunct="1">
              <a:lnSpc>
                <a:spcPct val="100000"/>
              </a:lnSpc>
              <a:spcBef>
                <a:spcPts val="300"/>
              </a:spcBef>
              <a:spcAft>
                <a:spcPct val="0"/>
              </a:spcAft>
              <a:buClrTx/>
              <a:buSzTx/>
              <a:buFontTx/>
              <a:buNone/>
              <a:tabLst/>
              <a:defRPr/>
            </a:pPr>
            <a:r>
              <a:rPr lang="fr-FR" sz="2000" dirty="0">
                <a:solidFill>
                  <a:srgbClr val="FFFFFF"/>
                </a:solidFill>
                <a:latin typeface="Calibri"/>
                <a:cs typeface="Lucida Sans Unicode" pitchFamily="34" charset="0"/>
              </a:rPr>
              <a:t>The </a:t>
            </a:r>
            <a:r>
              <a:rPr lang="fr-FR" sz="2000" dirty="0" err="1">
                <a:solidFill>
                  <a:srgbClr val="FFFFFF"/>
                </a:solidFill>
                <a:latin typeface="Calibri"/>
                <a:cs typeface="Lucida Sans Unicode" pitchFamily="34" charset="0"/>
              </a:rPr>
              <a:t>Lyinc</a:t>
            </a:r>
            <a:r>
              <a:rPr lang="fr-FR" sz="2000" dirty="0">
                <a:solidFill>
                  <a:srgbClr val="FFFFFF"/>
                </a:solidFill>
                <a:latin typeface="Calibri"/>
                <a:cs typeface="Lucida Sans Unicode" pitchFamily="34" charset="0"/>
              </a:rPr>
              <a:t>, Lyon - 20 Octobre 2022</a:t>
            </a:r>
            <a:endParaRPr kumimoji="0" lang="fr-FR" sz="2000" b="0" i="0" u="none" strike="noStrike" kern="1200" cap="none" spc="0" normalizeH="0" baseline="0" noProof="0" dirty="0">
              <a:ln>
                <a:noFill/>
              </a:ln>
              <a:solidFill>
                <a:srgbClr val="FFFFFF"/>
              </a:solidFill>
              <a:effectLst/>
              <a:uLnTx/>
              <a:uFillTx/>
              <a:latin typeface="Calibri"/>
              <a:ea typeface="+mn-ea"/>
              <a:cs typeface="Lucida Sans Unicode" pitchFamily="34" charset="0"/>
            </a:endParaRPr>
          </a:p>
          <a:p>
            <a:pPr lvl="0" defTabSz="914400" eaLnBrk="1" fontAlgn="base" hangingPunct="1">
              <a:spcBef>
                <a:spcPts val="300"/>
              </a:spcBef>
              <a:spcAft>
                <a:spcPct val="0"/>
              </a:spcAft>
              <a:defRPr/>
            </a:pPr>
            <a:r>
              <a:rPr kumimoji="0" lang="fr-FR" sz="2000" b="0" i="0" u="none" strike="noStrike" kern="1200" cap="none" spc="0" normalizeH="0" baseline="0" noProof="0" dirty="0">
                <a:ln>
                  <a:noFill/>
                </a:ln>
                <a:solidFill>
                  <a:srgbClr val="FFFFFF"/>
                </a:solidFill>
                <a:effectLst/>
                <a:uLnTx/>
                <a:uFillTx/>
                <a:latin typeface="Calibri"/>
                <a:ea typeface="+mn-ea"/>
                <a:cs typeface="Lucida Sans Unicode" pitchFamily="34" charset="0"/>
              </a:rPr>
              <a:t>Michel Zaffran -   RC </a:t>
            </a:r>
            <a:r>
              <a:rPr kumimoji="0" lang="fr-FR" sz="2000" b="0" i="0" u="none" strike="noStrike" kern="1200" cap="none" spc="0" normalizeH="0" baseline="0" noProof="0" dirty="0" err="1">
                <a:ln>
                  <a:noFill/>
                </a:ln>
                <a:solidFill>
                  <a:srgbClr val="FFFFFF"/>
                </a:solidFill>
                <a:effectLst/>
                <a:uLnTx/>
                <a:uFillTx/>
                <a:latin typeface="Calibri"/>
                <a:ea typeface="+mn-ea"/>
                <a:cs typeface="Lucida Sans Unicode" pitchFamily="34" charset="0"/>
              </a:rPr>
              <a:t>Gex-Divonne</a:t>
            </a:r>
            <a:endParaRPr kumimoji="0" lang="fr-FR" sz="2400" b="0" i="0" u="none" strike="noStrike" kern="1200" cap="none" spc="0" normalizeH="0" baseline="0" noProof="0" dirty="0">
              <a:ln>
                <a:noFill/>
              </a:ln>
              <a:solidFill>
                <a:srgbClr val="FFFFFF"/>
              </a:solidFill>
              <a:effectLst/>
              <a:uLnTx/>
              <a:uFillTx/>
              <a:latin typeface="Calibri"/>
              <a:ea typeface="+mn-ea"/>
              <a:cs typeface="Lucida Sans Unicode" pitchFamily="34" charset="0"/>
            </a:endParaRPr>
          </a:p>
        </p:txBody>
      </p:sp>
      <p:grpSp>
        <p:nvGrpSpPr>
          <p:cNvPr id="24" name="Group 23">
            <a:extLst>
              <a:ext uri="{FF2B5EF4-FFF2-40B4-BE49-F238E27FC236}">
                <a16:creationId xmlns:a16="http://schemas.microsoft.com/office/drawing/2014/main" id="{6B93F28A-9546-445C-BD66-09574F61C5CC}"/>
              </a:ext>
            </a:extLst>
          </p:cNvPr>
          <p:cNvGrpSpPr/>
          <p:nvPr/>
        </p:nvGrpSpPr>
        <p:grpSpPr>
          <a:xfrm>
            <a:off x="104775" y="4414979"/>
            <a:ext cx="11823116" cy="1427291"/>
            <a:chOff x="117440" y="4585823"/>
            <a:chExt cx="8909120" cy="1081194"/>
          </a:xfrm>
        </p:grpSpPr>
        <p:sp>
          <p:nvSpPr>
            <p:cNvPr id="25" name="Rectangle 24">
              <a:extLst>
                <a:ext uri="{FF2B5EF4-FFF2-40B4-BE49-F238E27FC236}">
                  <a16:creationId xmlns:a16="http://schemas.microsoft.com/office/drawing/2014/main" id="{4B2D3D81-775B-4EC0-8C07-405984116BB7}"/>
                </a:ext>
              </a:extLst>
            </p:cNvPr>
            <p:cNvSpPr/>
            <p:nvPr/>
          </p:nvSpPr>
          <p:spPr>
            <a:xfrm>
              <a:off x="117440" y="4585823"/>
              <a:ext cx="8828734" cy="1081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26" name="Group 25">
              <a:extLst>
                <a:ext uri="{FF2B5EF4-FFF2-40B4-BE49-F238E27FC236}">
                  <a16:creationId xmlns:a16="http://schemas.microsoft.com/office/drawing/2014/main" id="{EE9E6C45-F1FF-4FDE-BB41-CC59D5CF0DF5}"/>
                </a:ext>
              </a:extLst>
            </p:cNvPr>
            <p:cNvGrpSpPr/>
            <p:nvPr/>
          </p:nvGrpSpPr>
          <p:grpSpPr>
            <a:xfrm>
              <a:off x="204278" y="4932892"/>
              <a:ext cx="8822282" cy="707221"/>
              <a:chOff x="2907582" y="4952469"/>
              <a:chExt cx="8822282" cy="707221"/>
            </a:xfrm>
            <a:solidFill>
              <a:schemeClr val="bg1"/>
            </a:solidFill>
          </p:grpSpPr>
          <p:pic>
            <p:nvPicPr>
              <p:cNvPr id="27" name="Google Shape;67;p3">
                <a:extLst>
                  <a:ext uri="{FF2B5EF4-FFF2-40B4-BE49-F238E27FC236}">
                    <a16:creationId xmlns:a16="http://schemas.microsoft.com/office/drawing/2014/main" id="{2510BB80-5033-44C1-B618-9ED1887DC96C}"/>
                  </a:ext>
                </a:extLst>
              </p:cNvPr>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10403824" y="4952469"/>
                <a:ext cx="1326040" cy="707221"/>
              </a:xfrm>
              <a:prstGeom prst="rect">
                <a:avLst/>
              </a:prstGeom>
              <a:grpFill/>
              <a:ln>
                <a:noFill/>
              </a:ln>
            </p:spPr>
          </p:pic>
          <p:pic>
            <p:nvPicPr>
              <p:cNvPr id="28" name="Google Shape;68;p3" descr="A close up of a sign&#10;&#10;Description generated with very high confidence">
                <a:extLst>
                  <a:ext uri="{FF2B5EF4-FFF2-40B4-BE49-F238E27FC236}">
                    <a16:creationId xmlns:a16="http://schemas.microsoft.com/office/drawing/2014/main" id="{B93637BE-1A7B-404D-942C-78E16657F3FA}"/>
                  </a:ext>
                </a:extLst>
              </p:cNvPr>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8892357" y="5152735"/>
                <a:ext cx="1526630" cy="306689"/>
              </a:xfrm>
              <a:prstGeom prst="rect">
                <a:avLst/>
              </a:prstGeom>
              <a:grpFill/>
              <a:ln>
                <a:noFill/>
              </a:ln>
            </p:spPr>
          </p:pic>
          <p:pic>
            <p:nvPicPr>
              <p:cNvPr id="29" name="Google Shape;69;p3">
                <a:extLst>
                  <a:ext uri="{FF2B5EF4-FFF2-40B4-BE49-F238E27FC236}">
                    <a16:creationId xmlns:a16="http://schemas.microsoft.com/office/drawing/2014/main" id="{66EA2946-E8AE-4266-A682-44DE80A83894}"/>
                  </a:ext>
                </a:extLst>
              </p:cNvPr>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7778515" y="4952469"/>
                <a:ext cx="979714" cy="707221"/>
              </a:xfrm>
              <a:prstGeom prst="rect">
                <a:avLst/>
              </a:prstGeom>
              <a:grpFill/>
              <a:ln>
                <a:noFill/>
              </a:ln>
            </p:spPr>
          </p:pic>
          <p:pic>
            <p:nvPicPr>
              <p:cNvPr id="30" name="Google Shape;70;p3" descr="A picture containing clipart&#10;&#10;Description generated with very high confidence">
                <a:extLst>
                  <a:ext uri="{FF2B5EF4-FFF2-40B4-BE49-F238E27FC236}">
                    <a16:creationId xmlns:a16="http://schemas.microsoft.com/office/drawing/2014/main" id="{F96C0D53-94A4-4005-A358-14CBAF4D6692}"/>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6122272" y="4988061"/>
                <a:ext cx="1575856" cy="636036"/>
              </a:xfrm>
              <a:prstGeom prst="rect">
                <a:avLst/>
              </a:prstGeom>
              <a:grpFill/>
              <a:ln>
                <a:noFill/>
              </a:ln>
            </p:spPr>
          </p:pic>
          <p:pic>
            <p:nvPicPr>
              <p:cNvPr id="31" name="Google Shape;71;p3">
                <a:extLst>
                  <a:ext uri="{FF2B5EF4-FFF2-40B4-BE49-F238E27FC236}">
                    <a16:creationId xmlns:a16="http://schemas.microsoft.com/office/drawing/2014/main" id="{B7600287-FDF5-431B-A126-E241EC39F835}"/>
                  </a:ext>
                </a:extLst>
              </p:cNvPr>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4625082" y="5143477"/>
                <a:ext cx="1340804" cy="325205"/>
              </a:xfrm>
              <a:prstGeom prst="rect">
                <a:avLst/>
              </a:prstGeom>
              <a:grpFill/>
              <a:ln>
                <a:noFill/>
              </a:ln>
            </p:spPr>
          </p:pic>
          <p:pic>
            <p:nvPicPr>
              <p:cNvPr id="32" name="Google Shape;72;p3" descr="A close up of a sign&#10;&#10;Description generated with very high confidence">
                <a:extLst>
                  <a:ext uri="{FF2B5EF4-FFF2-40B4-BE49-F238E27FC236}">
                    <a16:creationId xmlns:a16="http://schemas.microsoft.com/office/drawing/2014/main" id="{E1A187C3-1E9A-4EBE-8201-B08C06344232}"/>
                  </a:ext>
                </a:extLst>
              </p:cNvPr>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2907582" y="5074449"/>
                <a:ext cx="1469696" cy="463261"/>
              </a:xfrm>
              <a:prstGeom prst="rect">
                <a:avLst/>
              </a:prstGeom>
              <a:grpFill/>
              <a:ln>
                <a:noFill/>
              </a:ln>
            </p:spPr>
          </p:pic>
        </p:grpSp>
      </p:grpSp>
      <p:sp>
        <p:nvSpPr>
          <p:cNvPr id="2" name="Rectangle 1">
            <a:extLst>
              <a:ext uri="{FF2B5EF4-FFF2-40B4-BE49-F238E27FC236}">
                <a16:creationId xmlns:a16="http://schemas.microsoft.com/office/drawing/2014/main" id="{73318073-394B-4570-9D4A-705A1DA0C499}"/>
              </a:ext>
            </a:extLst>
          </p:cNvPr>
          <p:cNvSpPr/>
          <p:nvPr/>
        </p:nvSpPr>
        <p:spPr>
          <a:xfrm>
            <a:off x="7048371" y="468086"/>
            <a:ext cx="4819792" cy="1987796"/>
          </a:xfrm>
          <a:prstGeom prst="rect">
            <a:avLst/>
          </a:prstGeom>
          <a:solidFill>
            <a:schemeClr val="bg1"/>
          </a:solidFill>
          <a:ln>
            <a:noFill/>
          </a:ln>
          <a:effectLst>
            <a:outerShdw blurRad="40000" dist="23000" dir="5400000" rotWithShape="0">
              <a:schemeClr val="bg1">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ZoneTexte 16">
            <a:extLst>
              <a:ext uri="{FF2B5EF4-FFF2-40B4-BE49-F238E27FC236}">
                <a16:creationId xmlns:a16="http://schemas.microsoft.com/office/drawing/2014/main" id="{49B12783-74B6-4508-8623-F770BADB5220}"/>
              </a:ext>
            </a:extLst>
          </p:cNvPr>
          <p:cNvSpPr txBox="1"/>
          <p:nvPr/>
        </p:nvSpPr>
        <p:spPr>
          <a:xfrm>
            <a:off x="1990726" y="1231145"/>
            <a:ext cx="8197526" cy="1361911"/>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fr-FR" sz="4000" b="1" i="0" u="none" strike="noStrike" kern="1200" cap="none" spc="0" normalizeH="0" baseline="0" noProof="0" dirty="0">
                <a:ln>
                  <a:noFill/>
                </a:ln>
                <a:solidFill>
                  <a:prstClr val="black"/>
                </a:solidFill>
                <a:effectLst/>
                <a:uLnTx/>
                <a:uFillTx/>
                <a:latin typeface="Calibri"/>
                <a:ea typeface="+mn-ea"/>
                <a:cs typeface="Lucida Sans Unicode" pitchFamily="34" charset="0"/>
              </a:rPr>
              <a:t>Eradication mondiale de la Polio </a:t>
            </a:r>
          </a:p>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fr-FR" sz="4000" b="1" i="0" u="none" strike="noStrike" kern="1200" cap="none" spc="0" normalizeH="0" baseline="0" noProof="0" dirty="0">
                <a:ln>
                  <a:noFill/>
                </a:ln>
                <a:solidFill>
                  <a:prstClr val="black"/>
                </a:solidFill>
                <a:effectLst/>
                <a:uLnTx/>
                <a:uFillTx/>
                <a:latin typeface="Calibri"/>
                <a:ea typeface="+mn-ea"/>
                <a:cs typeface="Lucida Sans Unicode" pitchFamily="34" charset="0"/>
              </a:rPr>
              <a:t>Est-ce bientôt fini?</a:t>
            </a:r>
          </a:p>
        </p:txBody>
      </p:sp>
      <p:pic>
        <p:nvPicPr>
          <p:cNvPr id="7" name="Image 6">
            <a:extLst>
              <a:ext uri="{FF2B5EF4-FFF2-40B4-BE49-F238E27FC236}">
                <a16:creationId xmlns:a16="http://schemas.microsoft.com/office/drawing/2014/main" id="{CD003CA2-69D1-7C6F-05F6-2D2006A6F9F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4775" y="71125"/>
            <a:ext cx="913062" cy="1160020"/>
          </a:xfrm>
          <a:prstGeom prst="rect">
            <a:avLst/>
          </a:prstGeom>
        </p:spPr>
      </p:pic>
      <p:pic>
        <p:nvPicPr>
          <p:cNvPr id="8" name="Image 7">
            <a:extLst>
              <a:ext uri="{FF2B5EF4-FFF2-40B4-BE49-F238E27FC236}">
                <a16:creationId xmlns:a16="http://schemas.microsoft.com/office/drawing/2014/main" id="{C2538C86-85C0-3831-55C2-AC4C239F833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859169" y="0"/>
            <a:ext cx="2116636" cy="823136"/>
          </a:xfrm>
          <a:prstGeom prst="rect">
            <a:avLst/>
          </a:prstGeom>
        </p:spPr>
      </p:pic>
    </p:spTree>
    <p:extLst>
      <p:ext uri="{BB962C8B-B14F-4D97-AF65-F5344CB8AC3E}">
        <p14:creationId xmlns:p14="http://schemas.microsoft.com/office/powerpoint/2010/main" val="23647406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A picture containing person, indoor, young, little&#10;&#10;Description automatically generated">
            <a:extLst>
              <a:ext uri="{FF2B5EF4-FFF2-40B4-BE49-F238E27FC236}">
                <a16:creationId xmlns:a16="http://schemas.microsoft.com/office/drawing/2014/main" id="{F134FA38-E7D7-CF44-AABB-DCF21EF2F939}"/>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colorTemperature colorTemp="11065"/>
                    </a14:imgEffect>
                    <a14:imgEffect>
                      <a14:saturation sat="0"/>
                    </a14:imgEffect>
                  </a14:imgLayer>
                </a14:imgProps>
              </a:ext>
              <a:ext uri="{28A0092B-C50C-407E-A947-70E740481C1C}">
                <a14:useLocalDpi xmlns:a14="http://schemas.microsoft.com/office/drawing/2010/main"/>
              </a:ext>
            </a:extLst>
          </a:blip>
          <a:srcRect/>
          <a:stretch/>
        </p:blipFill>
        <p:spPr>
          <a:xfrm>
            <a:off x="6172669" y="1646242"/>
            <a:ext cx="6019331" cy="3562270"/>
          </a:xfrm>
          <a:prstGeom prst="rect">
            <a:avLst/>
          </a:prstGeom>
          <a:effectLst/>
        </p:spPr>
      </p:pic>
      <p:sp>
        <p:nvSpPr>
          <p:cNvPr id="4" name="Pentagon 3">
            <a:extLst>
              <a:ext uri="{FF2B5EF4-FFF2-40B4-BE49-F238E27FC236}">
                <a16:creationId xmlns:a16="http://schemas.microsoft.com/office/drawing/2014/main" id="{D10A4FCE-D26E-3149-A19C-443957AAC849}"/>
              </a:ext>
            </a:extLst>
          </p:cNvPr>
          <p:cNvSpPr/>
          <p:nvPr/>
        </p:nvSpPr>
        <p:spPr>
          <a:xfrm>
            <a:off x="-1" y="370115"/>
            <a:ext cx="7347857" cy="5775036"/>
          </a:xfrm>
          <a:prstGeom prst="homePlate">
            <a:avLst>
              <a:gd name="adj" fmla="val 20725"/>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F497D"/>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A524DBC6-324A-E14F-A219-78922F05EC61}"/>
              </a:ext>
            </a:extLst>
          </p:cNvPr>
          <p:cNvSpPr/>
          <p:nvPr/>
        </p:nvSpPr>
        <p:spPr>
          <a:xfrm>
            <a:off x="400910" y="499943"/>
            <a:ext cx="5416110" cy="11546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chorCtr="0">
            <a:normAutofit lnSpcReduction="10000"/>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lang="fr-FR" sz="3600" b="1" i="1" dirty="0">
                <a:solidFill>
                  <a:schemeClr val="accent6"/>
                </a:solidFill>
                <a:latin typeface="Calibri" panose="020F0502020204030204" pitchFamily="34" charset="0"/>
                <a:cs typeface="Calibri" panose="020F0502020204030204" pitchFamily="34" charset="0"/>
              </a:rPr>
              <a:t>Virus circulant dérivés de la souche vaccinale ?</a:t>
            </a:r>
          </a:p>
          <a:p>
            <a:pPr marL="0" marR="0" lvl="0" indent="0" algn="l" defTabSz="914400" rtl="0" eaLnBrk="1" fontAlgn="auto" latinLnBrk="0" hangingPunct="1">
              <a:lnSpc>
                <a:spcPct val="90000"/>
              </a:lnSpc>
              <a:spcBef>
                <a:spcPct val="0"/>
              </a:spcBef>
              <a:spcAft>
                <a:spcPts val="600"/>
              </a:spcAft>
              <a:buClrTx/>
              <a:buSzTx/>
              <a:buFontTx/>
              <a:buNone/>
              <a:tabLst/>
              <a:defRPr/>
            </a:pPr>
            <a:endParaRPr kumimoji="0" lang="fr-FR" sz="3400" b="1" i="0" u="none" strike="noStrike" kern="1200" cap="none" spc="0" normalizeH="0" baseline="0" dirty="0">
              <a:ln>
                <a:noFill/>
              </a:ln>
              <a:solidFill>
                <a:srgbClr val="1F497D"/>
              </a:solidFill>
              <a:effectLst/>
              <a:uLnTx/>
              <a:uFillTx/>
              <a:latin typeface="Calibri"/>
              <a:ea typeface="+mn-ea"/>
              <a:cs typeface="+mn-cs"/>
            </a:endParaRPr>
          </a:p>
        </p:txBody>
      </p:sp>
      <p:sp>
        <p:nvSpPr>
          <p:cNvPr id="21" name="Content Placeholder 2">
            <a:extLst>
              <a:ext uri="{FF2B5EF4-FFF2-40B4-BE49-F238E27FC236}">
                <a16:creationId xmlns:a16="http://schemas.microsoft.com/office/drawing/2014/main" id="{C888CEF8-EAE0-1441-B489-B06C9C681D17}"/>
              </a:ext>
            </a:extLst>
          </p:cNvPr>
          <p:cNvSpPr>
            <a:spLocks noGrp="1"/>
          </p:cNvSpPr>
          <p:nvPr/>
        </p:nvSpPr>
        <p:spPr>
          <a:xfrm>
            <a:off x="153338" y="1446806"/>
            <a:ext cx="6019331" cy="4577607"/>
          </a:xfrm>
          <a:prstGeom prst="rect">
            <a:avLst/>
          </a:prstGeom>
        </p:spPr>
        <p:txBody>
          <a:bodyPr vert="horz" lIns="91440" tIns="45720" rIns="91440" bIns="45720" rtlCol="0">
            <a:normAutofit fontScale="92500" lnSpcReduction="10000"/>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20000"/>
              </a:lnSpc>
              <a:spcBef>
                <a:spcPts val="300"/>
              </a:spcBef>
              <a:spcAft>
                <a:spcPts val="300"/>
              </a:spcAft>
            </a:pPr>
            <a:r>
              <a:rPr lang="fr-FR" sz="2400" dirty="0"/>
              <a:t>Le vaccin oral  contient un </a:t>
            </a:r>
            <a:r>
              <a:rPr lang="fr-FR" sz="2400" b="1" dirty="0"/>
              <a:t>virus de la polio vivant fortement affaibli </a:t>
            </a:r>
          </a:p>
          <a:p>
            <a:pPr>
              <a:lnSpc>
                <a:spcPct val="120000"/>
              </a:lnSpc>
              <a:spcBef>
                <a:spcPts val="300"/>
              </a:spcBef>
              <a:spcAft>
                <a:spcPts val="300"/>
              </a:spcAft>
            </a:pPr>
            <a:r>
              <a:rPr lang="fr-FR" sz="2400" dirty="0"/>
              <a:t>L’enfant vacciné excrète le virus vaccinal </a:t>
            </a:r>
          </a:p>
          <a:p>
            <a:pPr>
              <a:lnSpc>
                <a:spcPct val="120000"/>
              </a:lnSpc>
              <a:spcBef>
                <a:spcPts val="300"/>
              </a:spcBef>
              <a:spcAft>
                <a:spcPts val="300"/>
              </a:spcAft>
            </a:pPr>
            <a:r>
              <a:rPr lang="fr-FR" sz="2400" b="1" dirty="0"/>
              <a:t>Le virus vaccinal peut circuler entre les enfants non vaccinés </a:t>
            </a:r>
            <a:r>
              <a:rPr lang="fr-FR" sz="2400" dirty="0"/>
              <a:t>par contact fécal-oral </a:t>
            </a:r>
          </a:p>
          <a:p>
            <a:pPr>
              <a:lnSpc>
                <a:spcPct val="120000"/>
              </a:lnSpc>
              <a:spcBef>
                <a:spcPts val="300"/>
              </a:spcBef>
              <a:spcAft>
                <a:spcPts val="300"/>
              </a:spcAft>
            </a:pPr>
            <a:r>
              <a:rPr lang="fr-FR" sz="2400" b="1" dirty="0"/>
              <a:t>Rarement, </a:t>
            </a:r>
            <a:r>
              <a:rPr lang="fr-FR" sz="2400" dirty="0"/>
              <a:t>le virus circulant ainsi peut subir des </a:t>
            </a:r>
            <a:r>
              <a:rPr lang="fr-FR" sz="2400" b="1" dirty="0"/>
              <a:t>mutations </a:t>
            </a:r>
            <a:r>
              <a:rPr lang="fr-FR" sz="2400" dirty="0"/>
              <a:t>et redevenir virulent </a:t>
            </a:r>
          </a:p>
          <a:p>
            <a:pPr>
              <a:lnSpc>
                <a:spcPct val="120000"/>
              </a:lnSpc>
              <a:spcBef>
                <a:spcPts val="300"/>
              </a:spcBef>
              <a:spcAft>
                <a:spcPts val="300"/>
              </a:spcAft>
            </a:pPr>
            <a:r>
              <a:rPr lang="fr-FR" sz="2400" b="1" dirty="0"/>
              <a:t>La flambée affecte des enfants non vaccinés </a:t>
            </a:r>
            <a:r>
              <a:rPr lang="fr-FR" sz="2400" dirty="0"/>
              <a:t>en contact avec le virus mutant </a:t>
            </a:r>
            <a:r>
              <a:rPr lang="fr-FR" sz="1600" dirty="0"/>
              <a:t>.</a:t>
            </a:r>
            <a:endParaRPr lang="en-US" sz="1600" dirty="0"/>
          </a:p>
          <a:p>
            <a:pPr>
              <a:lnSpc>
                <a:spcPct val="120000"/>
              </a:lnSpc>
              <a:spcBef>
                <a:spcPts val="300"/>
              </a:spcBef>
              <a:spcAft>
                <a:spcPts val="300"/>
              </a:spcAft>
            </a:pPr>
            <a:r>
              <a:rPr lang="fr-FR" sz="2600" b="1" dirty="0"/>
              <a:t>Les enfants vaccinés sont protégés par le vaccin! </a:t>
            </a:r>
          </a:p>
        </p:txBody>
      </p:sp>
      <p:sp>
        <p:nvSpPr>
          <p:cNvPr id="9" name="Espace réservé du numéro de diapositive 3">
            <a:extLst>
              <a:ext uri="{FF2B5EF4-FFF2-40B4-BE49-F238E27FC236}">
                <a16:creationId xmlns:a16="http://schemas.microsoft.com/office/drawing/2014/main" id="{3309682D-5810-4C66-BF48-8F29214B89F7}"/>
              </a:ext>
            </a:extLst>
          </p:cNvPr>
          <p:cNvSpPr txBox="1">
            <a:spLocks/>
          </p:cNvSpPr>
          <p:nvPr/>
        </p:nvSpPr>
        <p:spPr>
          <a:xfrm>
            <a:off x="3" y="6604000"/>
            <a:ext cx="2370667" cy="254000"/>
          </a:xfrm>
          <a:prstGeom prst="rect">
            <a:avLst/>
          </a:prstGeom>
        </p:spPr>
        <p:txBody>
          <a:bodyPr vert="horz" lIns="91440" tIns="45720" rIns="91440" bIns="45720" rtlCol="0" anchor="ctr"/>
          <a:lstStyle>
            <a:defPPr>
              <a:defRPr lang="en-US"/>
            </a:defPPr>
            <a:lvl1pPr algn="r" defTabSz="457200" fontAlgn="auto">
              <a:spcBef>
                <a:spcPts val="0"/>
              </a:spcBef>
              <a:spcAft>
                <a:spcPts val="0"/>
              </a:spcAft>
              <a:defRPr sz="1200">
                <a:solidFill>
                  <a:prstClr val="white"/>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3D5B703-056F-479E-8893-F9987D298CDC}" type="slidenum">
              <a:rPr lang="en-GB" smtClean="0"/>
              <a:pPr/>
              <a:t>10</a:t>
            </a:fld>
            <a:endParaRPr lang="en-GB"/>
          </a:p>
        </p:txBody>
      </p:sp>
      <p:sp>
        <p:nvSpPr>
          <p:cNvPr id="3" name="Rectangle 2">
            <a:extLst>
              <a:ext uri="{FF2B5EF4-FFF2-40B4-BE49-F238E27FC236}">
                <a16:creationId xmlns:a16="http://schemas.microsoft.com/office/drawing/2014/main" id="{C65E002C-0A8B-4087-ACE4-D858CBC4DB3B}"/>
              </a:ext>
            </a:extLst>
          </p:cNvPr>
          <p:cNvSpPr/>
          <p:nvPr/>
        </p:nvSpPr>
        <p:spPr>
          <a:xfrm>
            <a:off x="9307629" y="134754"/>
            <a:ext cx="2733575" cy="904774"/>
          </a:xfrm>
          <a:prstGeom prst="rect">
            <a:avLst/>
          </a:prstGeom>
          <a:solidFill>
            <a:schemeClr val="bg1"/>
          </a:solidFill>
          <a:ln>
            <a:solidFill>
              <a:schemeClr val="bg1"/>
            </a:solidFill>
          </a:ln>
          <a:effectLst>
            <a:outerShdw blurRad="50800" dist="50800" dir="5400000" algn="ctr"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pic>
        <p:nvPicPr>
          <p:cNvPr id="6" name="Image 5">
            <a:extLst>
              <a:ext uri="{FF2B5EF4-FFF2-40B4-BE49-F238E27FC236}">
                <a16:creationId xmlns:a16="http://schemas.microsoft.com/office/drawing/2014/main" id="{775F9F81-EA12-6368-1FF6-21E92C3EBC1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97394" y="42532"/>
            <a:ext cx="2116636" cy="823136"/>
          </a:xfrm>
          <a:prstGeom prst="rect">
            <a:avLst/>
          </a:prstGeom>
        </p:spPr>
      </p:pic>
      <p:pic>
        <p:nvPicPr>
          <p:cNvPr id="7" name="Image 6">
            <a:extLst>
              <a:ext uri="{FF2B5EF4-FFF2-40B4-BE49-F238E27FC236}">
                <a16:creationId xmlns:a16="http://schemas.microsoft.com/office/drawing/2014/main" id="{D920EB2E-5F5A-4BD8-3EA5-33CFB6D7D3F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034446" y="5376263"/>
            <a:ext cx="913062" cy="1160020"/>
          </a:xfrm>
          <a:prstGeom prst="rect">
            <a:avLst/>
          </a:prstGeom>
        </p:spPr>
      </p:pic>
    </p:spTree>
    <p:extLst>
      <p:ext uri="{BB962C8B-B14F-4D97-AF65-F5344CB8AC3E}">
        <p14:creationId xmlns:p14="http://schemas.microsoft.com/office/powerpoint/2010/main" val="12793737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16745-D42B-423D-A0EA-0FEB938AE022}"/>
              </a:ext>
            </a:extLst>
          </p:cNvPr>
          <p:cNvSpPr>
            <a:spLocks noGrp="1"/>
          </p:cNvSpPr>
          <p:nvPr>
            <p:ph type="title"/>
          </p:nvPr>
        </p:nvSpPr>
        <p:spPr>
          <a:xfrm>
            <a:off x="1760205" y="222910"/>
            <a:ext cx="7886700" cy="973379"/>
          </a:xfrm>
        </p:spPr>
        <p:txBody>
          <a:bodyPr/>
          <a:lstStyle/>
          <a:p>
            <a:r>
              <a:rPr lang="en-GB" sz="3600" b="1" dirty="0">
                <a:solidFill>
                  <a:schemeClr val="accent6"/>
                </a:solidFill>
                <a:latin typeface="Calibri" panose="020F0502020204030204" pitchFamily="34" charset="0"/>
                <a:ea typeface="+mn-ea"/>
                <a:cs typeface="Calibri" panose="020F0502020204030204" pitchFamily="34" charset="0"/>
              </a:rPr>
              <a:t>Le nouveau </a:t>
            </a:r>
            <a:r>
              <a:rPr lang="en-GB" sz="3600" b="1" dirty="0" err="1">
                <a:solidFill>
                  <a:schemeClr val="accent6"/>
                </a:solidFill>
                <a:latin typeface="Calibri" panose="020F0502020204030204" pitchFamily="34" charset="0"/>
                <a:ea typeface="+mn-ea"/>
                <a:cs typeface="Calibri" panose="020F0502020204030204" pitchFamily="34" charset="0"/>
              </a:rPr>
              <a:t>vaccin</a:t>
            </a:r>
            <a:r>
              <a:rPr lang="en-GB" sz="3600" b="1" dirty="0">
                <a:solidFill>
                  <a:schemeClr val="accent6"/>
                </a:solidFill>
                <a:latin typeface="Calibri" panose="020F0502020204030204" pitchFamily="34" charset="0"/>
                <a:ea typeface="+mn-ea"/>
                <a:cs typeface="Calibri" panose="020F0502020204030204" pitchFamily="34" charset="0"/>
              </a:rPr>
              <a:t> oral (nVPO</a:t>
            </a:r>
            <a:r>
              <a:rPr lang="en-GB" sz="3600" b="1" baseline="-25000" dirty="0">
                <a:solidFill>
                  <a:schemeClr val="accent6"/>
                </a:solidFill>
                <a:latin typeface="Calibri" panose="020F0502020204030204" pitchFamily="34" charset="0"/>
                <a:ea typeface="+mn-ea"/>
                <a:cs typeface="Calibri" panose="020F0502020204030204" pitchFamily="34" charset="0"/>
              </a:rPr>
              <a:t>2</a:t>
            </a:r>
            <a:r>
              <a:rPr lang="en-GB" sz="3600" b="1" dirty="0">
                <a:solidFill>
                  <a:schemeClr val="accent6"/>
                </a:solidFill>
                <a:latin typeface="Calibri" panose="020F0502020204030204" pitchFamily="34" charset="0"/>
                <a:ea typeface="+mn-ea"/>
                <a:cs typeface="Calibri" panose="020F0502020204030204" pitchFamily="34" charset="0"/>
              </a:rPr>
              <a:t>)</a:t>
            </a:r>
            <a:br>
              <a:rPr lang="en-GB" sz="2800" b="1" dirty="0">
                <a:latin typeface="Avenir Next LT Pro" panose="020B0504020202020204" pitchFamily="34" charset="0"/>
              </a:rPr>
            </a:br>
            <a:br>
              <a:rPr lang="en-GB" sz="2800" b="1" dirty="0">
                <a:latin typeface="Avenir Next LT Pro" panose="020B0504020202020204" pitchFamily="34" charset="0"/>
              </a:rPr>
            </a:br>
            <a:br>
              <a:rPr lang="en-GB" sz="2800" b="1" dirty="0">
                <a:latin typeface="Avenir Next LT Pro" panose="020B0504020202020204" pitchFamily="34" charset="0"/>
              </a:rPr>
            </a:br>
            <a:r>
              <a:rPr lang="en-GB" sz="2800" b="1" dirty="0">
                <a:latin typeface="Avenir Next LT Pro" panose="020B0504020202020204" pitchFamily="34" charset="0"/>
              </a:rPr>
              <a:t> </a:t>
            </a:r>
            <a:endParaRPr lang="en-GB" dirty="0"/>
          </a:p>
        </p:txBody>
      </p:sp>
      <p:sp>
        <p:nvSpPr>
          <p:cNvPr id="3" name="Content Placeholder 2">
            <a:extLst>
              <a:ext uri="{FF2B5EF4-FFF2-40B4-BE49-F238E27FC236}">
                <a16:creationId xmlns:a16="http://schemas.microsoft.com/office/drawing/2014/main" id="{6D167CA4-E991-4C10-8C63-9C1F0A7EA5C2}"/>
              </a:ext>
            </a:extLst>
          </p:cNvPr>
          <p:cNvSpPr>
            <a:spLocks noGrp="1"/>
          </p:cNvSpPr>
          <p:nvPr>
            <p:ph idx="1"/>
          </p:nvPr>
        </p:nvSpPr>
        <p:spPr>
          <a:xfrm>
            <a:off x="244492" y="1149907"/>
            <a:ext cx="6570978" cy="5227389"/>
          </a:xfrm>
        </p:spPr>
        <p:txBody>
          <a:bodyPr>
            <a:normAutofit fontScale="85000" lnSpcReduction="20000"/>
          </a:bodyPr>
          <a:lstStyle/>
          <a:p>
            <a:pPr>
              <a:lnSpc>
                <a:spcPct val="130000"/>
              </a:lnSpc>
              <a:spcBef>
                <a:spcPts val="300"/>
              </a:spcBef>
              <a:spcAft>
                <a:spcPts val="300"/>
              </a:spcAft>
            </a:pPr>
            <a:r>
              <a:rPr lang="fr-FR" sz="2800" b="1" dirty="0"/>
              <a:t>Nouvel outil  pour répondre aux flambées </a:t>
            </a:r>
            <a:r>
              <a:rPr lang="fr-FR" sz="2800" dirty="0"/>
              <a:t>de poliovirus circulant dérivés de la souche vaccinale de type 2 (PVCDV</a:t>
            </a:r>
            <a:r>
              <a:rPr lang="fr-FR" sz="2800" baseline="-25000" dirty="0"/>
              <a:t>2</a:t>
            </a:r>
            <a:r>
              <a:rPr lang="fr-FR" sz="2800" dirty="0"/>
              <a:t>). </a:t>
            </a:r>
          </a:p>
          <a:p>
            <a:pPr>
              <a:lnSpc>
                <a:spcPct val="130000"/>
              </a:lnSpc>
              <a:spcBef>
                <a:spcPts val="300"/>
              </a:spcBef>
              <a:spcAft>
                <a:spcPts val="300"/>
              </a:spcAft>
            </a:pPr>
            <a:r>
              <a:rPr lang="fr-FR" sz="2800" dirty="0"/>
              <a:t>Version modifiée du vaccin polio oral, </a:t>
            </a:r>
            <a:r>
              <a:rPr lang="fr-FR" sz="2800" b="1" dirty="0"/>
              <a:t>génétiquement plus stable</a:t>
            </a:r>
            <a:r>
              <a:rPr lang="fr-FR" sz="2800" dirty="0"/>
              <a:t>, pour éviter les mutations et les flambées</a:t>
            </a:r>
          </a:p>
          <a:p>
            <a:pPr>
              <a:lnSpc>
                <a:spcPct val="130000"/>
              </a:lnSpc>
              <a:spcBef>
                <a:spcPts val="300"/>
              </a:spcBef>
              <a:spcAft>
                <a:spcPts val="300"/>
              </a:spcAft>
            </a:pPr>
            <a:r>
              <a:rPr lang="fr-FR" sz="2800" dirty="0"/>
              <a:t>En  développement depuis 10 ans, autorisé par l’OMS en Novembre 2020</a:t>
            </a:r>
          </a:p>
          <a:p>
            <a:pPr>
              <a:lnSpc>
                <a:spcPct val="130000"/>
              </a:lnSpc>
              <a:spcBef>
                <a:spcPts val="300"/>
              </a:spcBef>
              <a:spcAft>
                <a:spcPts val="300"/>
              </a:spcAft>
            </a:pPr>
            <a:r>
              <a:rPr lang="fr-FR" sz="2800" dirty="0"/>
              <a:t>Utilisé depuis  Mars 2021. </a:t>
            </a:r>
          </a:p>
          <a:p>
            <a:pPr lvl="1">
              <a:lnSpc>
                <a:spcPct val="130000"/>
              </a:lnSpc>
              <a:spcBef>
                <a:spcPts val="300"/>
              </a:spcBef>
              <a:spcAft>
                <a:spcPts val="300"/>
              </a:spcAft>
            </a:pPr>
            <a:r>
              <a:rPr lang="fr-FR" sz="2400" dirty="0"/>
              <a:t>Tadjikistan flambée officiellement interrompue </a:t>
            </a:r>
          </a:p>
          <a:p>
            <a:pPr lvl="1">
              <a:lnSpc>
                <a:spcPct val="130000"/>
              </a:lnSpc>
              <a:spcBef>
                <a:spcPts val="300"/>
              </a:spcBef>
              <a:spcAft>
                <a:spcPts val="300"/>
              </a:spcAft>
            </a:pPr>
            <a:r>
              <a:rPr lang="fr-FR" sz="2400" dirty="0"/>
              <a:t>Dans 20/23 Pays aucun cas depuis l’utilisation du vaccin </a:t>
            </a:r>
          </a:p>
          <a:p>
            <a:pPr>
              <a:lnSpc>
                <a:spcPct val="130000"/>
              </a:lnSpc>
              <a:spcBef>
                <a:spcPts val="300"/>
              </a:spcBef>
              <a:spcAft>
                <a:spcPts val="300"/>
              </a:spcAft>
            </a:pPr>
            <a:endParaRPr lang="fr-FR" sz="2800" dirty="0"/>
          </a:p>
          <a:p>
            <a:pPr marL="0" indent="0">
              <a:buNone/>
            </a:pPr>
            <a:endParaRPr lang="fr-FR" sz="3600" dirty="0">
              <a:latin typeface="Avenir Next LT Pro" panose="020B0504020202020204" pitchFamily="34" charset="0"/>
            </a:endParaRPr>
          </a:p>
        </p:txBody>
      </p:sp>
      <p:sp>
        <p:nvSpPr>
          <p:cNvPr id="6" name="TextBox 24">
            <a:extLst>
              <a:ext uri="{FF2B5EF4-FFF2-40B4-BE49-F238E27FC236}">
                <a16:creationId xmlns:a16="http://schemas.microsoft.com/office/drawing/2014/main" id="{EAD3D075-30C8-4D32-863F-ADA2CDEAC2E9}"/>
              </a:ext>
            </a:extLst>
          </p:cNvPr>
          <p:cNvSpPr txBox="1"/>
          <p:nvPr/>
        </p:nvSpPr>
        <p:spPr>
          <a:xfrm>
            <a:off x="6942538" y="1184885"/>
            <a:ext cx="4834547" cy="1200329"/>
          </a:xfrm>
          <a:prstGeom prst="rect">
            <a:avLst/>
          </a:prstGeom>
          <a:noFill/>
        </p:spPr>
        <p:txBody>
          <a:bodyPr wrap="square" rtlCol="0">
            <a:spAutoFit/>
          </a:bodyPr>
          <a:lstStyle/>
          <a:p>
            <a:pPr fontAlgn="base">
              <a:spcBef>
                <a:spcPts val="1200"/>
              </a:spcBef>
            </a:pPr>
            <a:r>
              <a:rPr lang="en-US" sz="2400" b="1" dirty="0">
                <a:solidFill>
                  <a:srgbClr val="0D4D95"/>
                </a:solidFill>
                <a:latin typeface="D-DIN" panose="020B0504030202030204" pitchFamily="34" charset="0"/>
              </a:rPr>
              <a:t>500 millions de doses déjà </a:t>
            </a:r>
            <a:r>
              <a:rPr lang="en-US" sz="2400" b="1" dirty="0" err="1">
                <a:solidFill>
                  <a:srgbClr val="0D4D95"/>
                </a:solidFill>
                <a:latin typeface="D-DIN" panose="020B0504030202030204" pitchFamily="34" charset="0"/>
              </a:rPr>
              <a:t>utilisées</a:t>
            </a:r>
            <a:r>
              <a:rPr lang="en-US" sz="2400" b="1" dirty="0">
                <a:solidFill>
                  <a:srgbClr val="0D4D95"/>
                </a:solidFill>
                <a:latin typeface="D-DIN" panose="020B0504030202030204" pitchFamily="34" charset="0"/>
              </a:rPr>
              <a:t> dans 23 pays  : Afrique, Europe et </a:t>
            </a:r>
            <a:r>
              <a:rPr lang="en-US" sz="2400" b="1" dirty="0" err="1">
                <a:solidFill>
                  <a:srgbClr val="0D4D95"/>
                </a:solidFill>
                <a:latin typeface="D-DIN" panose="020B0504030202030204" pitchFamily="34" charset="0"/>
              </a:rPr>
              <a:t>Moyen</a:t>
            </a:r>
            <a:r>
              <a:rPr lang="en-US" sz="2400" b="1" dirty="0">
                <a:solidFill>
                  <a:srgbClr val="0D4D95"/>
                </a:solidFill>
                <a:latin typeface="D-DIN" panose="020B0504030202030204" pitchFamily="34" charset="0"/>
              </a:rPr>
              <a:t> Orient. </a:t>
            </a:r>
            <a:endParaRPr lang="en-US" sz="2400" dirty="0">
              <a:latin typeface="D-DIN" panose="020B0504030202030204" pitchFamily="34" charset="0"/>
            </a:endParaRPr>
          </a:p>
        </p:txBody>
      </p:sp>
      <p:pic>
        <p:nvPicPr>
          <p:cNvPr id="7" name="Image 6">
            <a:extLst>
              <a:ext uri="{FF2B5EF4-FFF2-40B4-BE49-F238E27FC236}">
                <a16:creationId xmlns:a16="http://schemas.microsoft.com/office/drawing/2014/main" id="{5A6A261D-0026-4945-AE64-934E0410968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33246" y="2392318"/>
            <a:ext cx="4487728" cy="2993706"/>
          </a:xfrm>
          <a:prstGeom prst="rect">
            <a:avLst/>
          </a:prstGeom>
        </p:spPr>
      </p:pic>
      <p:pic>
        <p:nvPicPr>
          <p:cNvPr id="9" name="Image 8">
            <a:extLst>
              <a:ext uri="{FF2B5EF4-FFF2-40B4-BE49-F238E27FC236}">
                <a16:creationId xmlns:a16="http://schemas.microsoft.com/office/drawing/2014/main" id="{67A3BC32-23AD-841D-3975-6A8EF4383A5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48536" y="42532"/>
            <a:ext cx="2116636" cy="823136"/>
          </a:xfrm>
          <a:prstGeom prst="rect">
            <a:avLst/>
          </a:prstGeom>
        </p:spPr>
      </p:pic>
      <p:pic>
        <p:nvPicPr>
          <p:cNvPr id="4" name="Image 3">
            <a:extLst>
              <a:ext uri="{FF2B5EF4-FFF2-40B4-BE49-F238E27FC236}">
                <a16:creationId xmlns:a16="http://schemas.microsoft.com/office/drawing/2014/main" id="{6C35E3DA-5519-8D8A-7404-8FA570F256F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34446" y="5376263"/>
            <a:ext cx="913062" cy="1160020"/>
          </a:xfrm>
          <a:prstGeom prst="rect">
            <a:avLst/>
          </a:prstGeom>
        </p:spPr>
      </p:pic>
    </p:spTree>
    <p:extLst>
      <p:ext uri="{BB962C8B-B14F-4D97-AF65-F5344CB8AC3E}">
        <p14:creationId xmlns:p14="http://schemas.microsoft.com/office/powerpoint/2010/main" val="13375423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A4672C4-1340-4D90-838C-3E6633A4C5C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0" y="10"/>
            <a:ext cx="8668492" cy="6857990"/>
          </a:xfrm>
          <a:prstGeom prst="rect">
            <a:avLst/>
          </a:prstGeom>
        </p:spPr>
      </p:pic>
      <p:sp>
        <p:nvSpPr>
          <p:cNvPr id="11" name="Rectangle 3">
            <a:extLst>
              <a:ext uri="{FF2B5EF4-FFF2-40B4-BE49-F238E27FC236}">
                <a16:creationId xmlns:a16="http://schemas.microsoft.com/office/drawing/2014/main" id="{A34A0FA5-801E-4026-8304-35412B4B39A3}"/>
              </a:ext>
            </a:extLst>
          </p:cNvPr>
          <p:cNvSpPr txBox="1">
            <a:spLocks noChangeArrowheads="1"/>
          </p:cNvSpPr>
          <p:nvPr/>
        </p:nvSpPr>
        <p:spPr bwMode="auto">
          <a:xfrm>
            <a:off x="7466547" y="1484044"/>
            <a:ext cx="4727369" cy="5323871"/>
          </a:xfrm>
          <a:prstGeom prst="rect">
            <a:avLst/>
          </a:prstGeom>
          <a:solidFill>
            <a:schemeClr val="bg1"/>
          </a:solidFill>
        </p:spPr>
        <p:txBody>
          <a:bodyPr vert="horz" lIns="91440" tIns="45720" rIns="91440" bIns="45720" numCol="1" rtlCol="0" anchor="t" anchorCtr="0" compatLnSpc="1">
            <a:prstTxWarp prst="textNoShape">
              <a:avLst/>
            </a:prstTxWarp>
            <a:noAutofit/>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3 milliards </a:t>
            </a:r>
            <a:r>
              <a:rPr kumimoji="0" lang="fr-CH" sz="2200" i="0" u="none" strike="noStrike" kern="1200" cap="none" spc="0" normalizeH="0" baseline="0" noProof="0" dirty="0">
                <a:ln>
                  <a:noFill/>
                </a:ln>
                <a:solidFill>
                  <a:prstClr val="black"/>
                </a:solidFill>
                <a:effectLst/>
                <a:uLnTx/>
                <a:uFillTx/>
                <a:latin typeface="Calibri"/>
                <a:ea typeface="+mn-ea"/>
                <a:cs typeface="+mn-cs"/>
              </a:rPr>
              <a:t>d’enfants vaccinés</a:t>
            </a:r>
          </a:p>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19 millions </a:t>
            </a:r>
            <a:r>
              <a:rPr kumimoji="0" lang="fr-CH" sz="2200" i="0" u="none" strike="noStrike" kern="1200" cap="none" spc="0" normalizeH="0" baseline="0" noProof="0" dirty="0">
                <a:ln>
                  <a:noFill/>
                </a:ln>
                <a:solidFill>
                  <a:prstClr val="black"/>
                </a:solidFill>
                <a:effectLst/>
                <a:uLnTx/>
                <a:uFillTx/>
                <a:latin typeface="Calibri"/>
                <a:ea typeface="+mn-ea"/>
                <a:cs typeface="+mn-cs"/>
              </a:rPr>
              <a:t>de paralysies évitées</a:t>
            </a:r>
          </a:p>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1.5 millions </a:t>
            </a:r>
            <a:r>
              <a:rPr kumimoji="0" lang="fr-CH" sz="2200" i="0" u="none" strike="noStrike" kern="1200" cap="none" spc="0" normalizeH="0" baseline="0" noProof="0" dirty="0">
                <a:ln>
                  <a:noFill/>
                </a:ln>
                <a:solidFill>
                  <a:prstClr val="black"/>
                </a:solidFill>
                <a:effectLst/>
                <a:uLnTx/>
                <a:uFillTx/>
                <a:latin typeface="Calibri"/>
                <a:ea typeface="+mn-ea"/>
                <a:cs typeface="+mn-cs"/>
              </a:rPr>
              <a:t>vies sauvées</a:t>
            </a:r>
          </a:p>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20 millions </a:t>
            </a:r>
            <a:r>
              <a:rPr kumimoji="0" lang="fr-CH" sz="2200" i="0" u="none" strike="noStrike" kern="1200" cap="none" spc="0" normalizeH="0" baseline="0" noProof="0" dirty="0">
                <a:ln>
                  <a:noFill/>
                </a:ln>
                <a:solidFill>
                  <a:prstClr val="black"/>
                </a:solidFill>
                <a:effectLst/>
                <a:uLnTx/>
                <a:uFillTx/>
                <a:latin typeface="Calibri"/>
                <a:ea typeface="+mn-ea"/>
                <a:cs typeface="+mn-cs"/>
              </a:rPr>
              <a:t>de bénévoles mobilisés </a:t>
            </a:r>
          </a:p>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2 des 3 </a:t>
            </a:r>
            <a:r>
              <a:rPr kumimoji="0" lang="fr-CH" sz="2200" i="0" u="none" strike="noStrike" kern="1200" cap="none" spc="0" normalizeH="0" baseline="0" noProof="0" dirty="0">
                <a:ln>
                  <a:noFill/>
                </a:ln>
                <a:solidFill>
                  <a:prstClr val="black"/>
                </a:solidFill>
                <a:effectLst/>
                <a:uLnTx/>
                <a:uFillTx/>
                <a:latin typeface="Calibri"/>
                <a:ea typeface="+mn-ea"/>
                <a:cs typeface="+mn-cs"/>
              </a:rPr>
              <a:t>types</a:t>
            </a:r>
            <a:r>
              <a:rPr kumimoji="0" lang="fr-CH" sz="2200" b="1" i="0" u="none" strike="noStrike" kern="1200" cap="none" spc="0" normalizeH="0" baseline="0" noProof="0" dirty="0">
                <a:ln>
                  <a:noFill/>
                </a:ln>
                <a:solidFill>
                  <a:prstClr val="black"/>
                </a:solidFill>
                <a:effectLst/>
                <a:uLnTx/>
                <a:uFillTx/>
                <a:latin typeface="Calibri"/>
                <a:ea typeface="+mn-ea"/>
                <a:cs typeface="+mn-cs"/>
              </a:rPr>
              <a:t> </a:t>
            </a:r>
            <a:r>
              <a:rPr kumimoji="0" lang="fr-CH" sz="2200" i="0" u="none" strike="noStrike" kern="1200" cap="none" spc="0" normalizeH="0" baseline="0" noProof="0" dirty="0">
                <a:ln>
                  <a:noFill/>
                </a:ln>
                <a:solidFill>
                  <a:prstClr val="black"/>
                </a:solidFill>
                <a:effectLst/>
                <a:uLnTx/>
                <a:uFillTx/>
                <a:latin typeface="Calibri"/>
                <a:ea typeface="+mn-ea"/>
                <a:cs typeface="+mn-cs"/>
              </a:rPr>
              <a:t>du virus sauvage éradiqués</a:t>
            </a:r>
          </a:p>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5 des 6 régions </a:t>
            </a:r>
            <a:r>
              <a:rPr kumimoji="0" lang="fr-CH" sz="2200" i="0" u="none" strike="noStrike" kern="1200" cap="none" spc="0" normalizeH="0" baseline="0" noProof="0" dirty="0">
                <a:ln>
                  <a:noFill/>
                </a:ln>
                <a:solidFill>
                  <a:prstClr val="black"/>
                </a:solidFill>
                <a:effectLst/>
                <a:uLnTx/>
                <a:uFillTx/>
                <a:latin typeface="Calibri"/>
                <a:ea typeface="+mn-ea"/>
                <a:cs typeface="+mn-cs"/>
              </a:rPr>
              <a:t>du monde libérées du virus sauvage</a:t>
            </a:r>
          </a:p>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Nombre de cas réduit de 99.99 %</a:t>
            </a:r>
          </a:p>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Et …Les Plus de PolioPlus: </a:t>
            </a:r>
            <a:r>
              <a:rPr kumimoji="0" lang="fr-CH" sz="2200" i="0" u="none" strike="noStrike" kern="1200" cap="none" spc="0" normalizeH="0" baseline="0" noProof="0" dirty="0">
                <a:ln>
                  <a:noFill/>
                </a:ln>
                <a:solidFill>
                  <a:prstClr val="black"/>
                </a:solidFill>
                <a:effectLst/>
                <a:uLnTx/>
                <a:uFillTx/>
                <a:latin typeface="Calibri"/>
                <a:ea typeface="+mn-ea"/>
                <a:cs typeface="+mn-cs"/>
              </a:rPr>
              <a:t>Une infrastructure et une expérience au delà de la polio </a:t>
            </a:r>
          </a:p>
        </p:txBody>
      </p:sp>
      <p:sp>
        <p:nvSpPr>
          <p:cNvPr id="2" name="TextBox 1">
            <a:extLst>
              <a:ext uri="{FF2B5EF4-FFF2-40B4-BE49-F238E27FC236}">
                <a16:creationId xmlns:a16="http://schemas.microsoft.com/office/drawing/2014/main" id="{9DEAA53A-C8E4-4A0A-AC5E-2F3AB4BEF6DE}"/>
              </a:ext>
            </a:extLst>
          </p:cNvPr>
          <p:cNvSpPr txBox="1"/>
          <p:nvPr/>
        </p:nvSpPr>
        <p:spPr>
          <a:xfrm>
            <a:off x="7466547" y="880110"/>
            <a:ext cx="4725433" cy="654018"/>
          </a:xfrm>
          <a:prstGeom prst="rect">
            <a:avLst/>
          </a:prstGeom>
          <a:solidFill>
            <a:schemeClr val="bg1"/>
          </a:solidFill>
        </p:spPr>
        <p:txBody>
          <a:bodyPr vert="horz" lIns="91440" tIns="45720" rIns="91440" bIns="45720" rtlCol="0" anchor="b">
            <a:normAutofit/>
          </a:bodyPr>
          <a:lstStyle>
            <a:defPPr>
              <a:defRPr lang="en-US"/>
            </a:defPPr>
            <a:lvl1pPr marR="0" lvl="0" indent="0" algn="ctr" defTabSz="457200" fontAlgn="base">
              <a:lnSpc>
                <a:spcPct val="100000"/>
              </a:lnSpc>
              <a:spcBef>
                <a:spcPct val="0"/>
              </a:spcBef>
              <a:spcAft>
                <a:spcPct val="0"/>
              </a:spcAft>
              <a:buClrTx/>
              <a:buSzTx/>
              <a:buFontTx/>
              <a:buNone/>
              <a:tabLst/>
              <a:defRPr sz="3600" b="1">
                <a:solidFill>
                  <a:srgbClr val="F49B03"/>
                </a:solidFill>
                <a:latin typeface="+mj-lt"/>
                <a:ea typeface="+mj-ea"/>
                <a:cs typeface="+mj-cs"/>
              </a:defRPr>
            </a:lvl1p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0" lang="fr-CH" altLang="en-US" sz="2800" b="1" i="0" u="none" strike="noStrike" kern="1200" cap="none" spc="0" normalizeH="0" baseline="0" noProof="0" dirty="0">
                <a:ln>
                  <a:noFill/>
                </a:ln>
                <a:solidFill>
                  <a:srgbClr val="F49B03"/>
                </a:solidFill>
                <a:effectLst/>
                <a:uLnTx/>
                <a:uFillTx/>
                <a:latin typeface="Calibri"/>
                <a:ea typeface="+mj-ea"/>
                <a:cs typeface="+mj-cs"/>
              </a:rPr>
              <a:t>Nous pouvons être très fiers ! </a:t>
            </a:r>
          </a:p>
        </p:txBody>
      </p:sp>
      <p:pic>
        <p:nvPicPr>
          <p:cNvPr id="4" name="Image 3">
            <a:extLst>
              <a:ext uri="{FF2B5EF4-FFF2-40B4-BE49-F238E27FC236}">
                <a16:creationId xmlns:a16="http://schemas.microsoft.com/office/drawing/2014/main" id="{766DA4E7-3E24-DB80-1C67-DBD0D616700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04800" y="0"/>
            <a:ext cx="2580167" cy="1003398"/>
          </a:xfrm>
          <a:prstGeom prst="rect">
            <a:avLst/>
          </a:prstGeom>
        </p:spPr>
      </p:pic>
      <p:pic>
        <p:nvPicPr>
          <p:cNvPr id="5" name="Image 4">
            <a:extLst>
              <a:ext uri="{FF2B5EF4-FFF2-40B4-BE49-F238E27FC236}">
                <a16:creationId xmlns:a16="http://schemas.microsoft.com/office/drawing/2014/main" id="{A45E72B6-CA47-36B5-1E3C-CD9B00E4015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45277" y="-78311"/>
            <a:ext cx="913062" cy="1160020"/>
          </a:xfrm>
          <a:prstGeom prst="rect">
            <a:avLst/>
          </a:prstGeom>
        </p:spPr>
      </p:pic>
    </p:spTree>
    <p:extLst>
      <p:ext uri="{BB962C8B-B14F-4D97-AF65-F5344CB8AC3E}">
        <p14:creationId xmlns:p14="http://schemas.microsoft.com/office/powerpoint/2010/main" val="27268080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Image 2">
            <a:extLst>
              <a:ext uri="{FF2B5EF4-FFF2-40B4-BE49-F238E27FC236}">
                <a16:creationId xmlns:a16="http://schemas.microsoft.com/office/drawing/2014/main" id="{726F2E83-526D-8201-6488-D93BAB932B5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17175" y="4797425"/>
            <a:ext cx="1427163" cy="181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5" name="Picture 2">
            <a:extLst>
              <a:ext uri="{FF2B5EF4-FFF2-40B4-BE49-F238E27FC236}">
                <a16:creationId xmlns:a16="http://schemas.microsoft.com/office/drawing/2014/main" id="{8BACC23F-C771-173D-4B7F-3FAE82FAC9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16275" y="950913"/>
            <a:ext cx="5759450" cy="475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cover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1660" y="-123988"/>
            <a:ext cx="12243660" cy="612183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9B91570C-E561-42D4-8939-76678DD960D8}"/>
              </a:ext>
            </a:extLst>
          </p:cNvPr>
          <p:cNvSpPr/>
          <p:nvPr/>
        </p:nvSpPr>
        <p:spPr>
          <a:xfrm>
            <a:off x="0" y="-61933"/>
            <a:ext cx="12192000" cy="6940953"/>
          </a:xfrm>
          <a:prstGeom prst="rect">
            <a:avLst/>
          </a:prstGeom>
          <a:solidFill>
            <a:schemeClr val="bg1"/>
          </a:solidFill>
          <a:ln>
            <a:solidFill>
              <a:srgbClr val="F9F4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C7D783A0-ABCB-4E9F-A422-39C59911E78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290433" y="2750848"/>
            <a:ext cx="1358981" cy="1164748"/>
          </a:xfrm>
          <a:prstGeom prst="rect">
            <a:avLst/>
          </a:prstGeom>
        </p:spPr>
      </p:pic>
      <p:pic>
        <p:nvPicPr>
          <p:cNvPr id="7" name="Picture 6">
            <a:extLst>
              <a:ext uri="{FF2B5EF4-FFF2-40B4-BE49-F238E27FC236}">
                <a16:creationId xmlns:a16="http://schemas.microsoft.com/office/drawing/2014/main" id="{658D26AE-BF00-4C14-9037-E634B6043FE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415716" y="1581701"/>
            <a:ext cx="1253679" cy="1164748"/>
          </a:xfrm>
          <a:prstGeom prst="rect">
            <a:avLst/>
          </a:prstGeom>
        </p:spPr>
      </p:pic>
      <p:pic>
        <p:nvPicPr>
          <p:cNvPr id="8" name="Picture 7">
            <a:extLst>
              <a:ext uri="{FF2B5EF4-FFF2-40B4-BE49-F238E27FC236}">
                <a16:creationId xmlns:a16="http://schemas.microsoft.com/office/drawing/2014/main" id="{94ACF1D2-1B5D-444B-AF0B-48C77DA4341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435696" y="2750848"/>
            <a:ext cx="1228577" cy="1164748"/>
          </a:xfrm>
          <a:prstGeom prst="rect">
            <a:avLst/>
          </a:prstGeom>
        </p:spPr>
      </p:pic>
      <p:pic>
        <p:nvPicPr>
          <p:cNvPr id="9" name="Picture 8">
            <a:extLst>
              <a:ext uri="{FF2B5EF4-FFF2-40B4-BE49-F238E27FC236}">
                <a16:creationId xmlns:a16="http://schemas.microsoft.com/office/drawing/2014/main" id="{CAB01C73-8570-4EE2-AE8B-5E715882D04B}"/>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8185391" y="4499845"/>
            <a:ext cx="1228578" cy="1164748"/>
          </a:xfrm>
          <a:prstGeom prst="rect">
            <a:avLst/>
          </a:prstGeom>
        </p:spPr>
      </p:pic>
      <p:pic>
        <p:nvPicPr>
          <p:cNvPr id="10" name="Picture 9">
            <a:extLst>
              <a:ext uri="{FF2B5EF4-FFF2-40B4-BE49-F238E27FC236}">
                <a16:creationId xmlns:a16="http://schemas.microsoft.com/office/drawing/2014/main" id="{859C5A8F-3B17-4753-BC98-92B5E89ACB72}"/>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188663" y="4233381"/>
            <a:ext cx="1763014" cy="2339324"/>
          </a:xfrm>
          <a:prstGeom prst="rect">
            <a:avLst/>
          </a:prstGeom>
        </p:spPr>
      </p:pic>
      <p:pic>
        <p:nvPicPr>
          <p:cNvPr id="11" name="Picture 10">
            <a:extLst>
              <a:ext uri="{FF2B5EF4-FFF2-40B4-BE49-F238E27FC236}">
                <a16:creationId xmlns:a16="http://schemas.microsoft.com/office/drawing/2014/main" id="{FD58B789-9309-4701-8694-19E4CB4C35CA}"/>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2408568" y="4499845"/>
            <a:ext cx="1358982" cy="1164748"/>
          </a:xfrm>
          <a:prstGeom prst="rect">
            <a:avLst/>
          </a:prstGeom>
        </p:spPr>
      </p:pic>
      <p:sp>
        <p:nvSpPr>
          <p:cNvPr id="12" name="TextBox 11">
            <a:extLst>
              <a:ext uri="{FF2B5EF4-FFF2-40B4-BE49-F238E27FC236}">
                <a16:creationId xmlns:a16="http://schemas.microsoft.com/office/drawing/2014/main" id="{201DFC6B-00DB-4B05-8E3A-FF7455D6FF62}"/>
              </a:ext>
            </a:extLst>
          </p:cNvPr>
          <p:cNvSpPr txBox="1"/>
          <p:nvPr/>
        </p:nvSpPr>
        <p:spPr>
          <a:xfrm>
            <a:off x="738281" y="120684"/>
            <a:ext cx="10985102" cy="1200329"/>
          </a:xfrm>
          <a:prstGeom prst="rect">
            <a:avLst/>
          </a:prstGeom>
          <a:noFill/>
        </p:spPr>
        <p:txBody>
          <a:bodyPr wrap="square" rtlCol="0">
            <a:spAutoFit/>
          </a:bodyPr>
          <a:lstStyle/>
          <a:p>
            <a:pPr algn="ctr" defTabSz="457200" eaLnBrk="0" fontAlgn="base" hangingPunct="0">
              <a:spcBef>
                <a:spcPct val="0"/>
              </a:spcBef>
              <a:spcAft>
                <a:spcPct val="0"/>
              </a:spcAft>
            </a:pPr>
            <a:r>
              <a:rPr lang="fr-CH" sz="3600" b="1" dirty="0">
                <a:solidFill>
                  <a:srgbClr val="F49B03"/>
                </a:solidFill>
                <a:latin typeface="+mj-lt"/>
                <a:ea typeface="+mj-ea"/>
                <a:cs typeface="+mj-cs"/>
              </a:rPr>
              <a:t>Un des PLUS de PolioPlus </a:t>
            </a:r>
          </a:p>
          <a:p>
            <a:pPr algn="ctr" defTabSz="457200" eaLnBrk="0" fontAlgn="base" hangingPunct="0">
              <a:spcBef>
                <a:spcPct val="0"/>
              </a:spcBef>
              <a:spcAft>
                <a:spcPct val="0"/>
              </a:spcAft>
            </a:pPr>
            <a:r>
              <a:rPr lang="fr-CH" sz="3600" b="1" dirty="0">
                <a:solidFill>
                  <a:srgbClr val="F49B03"/>
                </a:solidFill>
                <a:latin typeface="+mj-lt"/>
                <a:ea typeface="+mj-ea"/>
                <a:cs typeface="+mj-cs"/>
              </a:rPr>
              <a:t>Notre Rôle dans la Pandémie de Covid-19 </a:t>
            </a:r>
          </a:p>
        </p:txBody>
      </p:sp>
      <p:sp>
        <p:nvSpPr>
          <p:cNvPr id="14" name="TextBox 13">
            <a:extLst>
              <a:ext uri="{FF2B5EF4-FFF2-40B4-BE49-F238E27FC236}">
                <a16:creationId xmlns:a16="http://schemas.microsoft.com/office/drawing/2014/main" id="{DFE54355-C119-4F35-A1A0-3955921D00C2}"/>
              </a:ext>
            </a:extLst>
          </p:cNvPr>
          <p:cNvSpPr txBox="1"/>
          <p:nvPr/>
        </p:nvSpPr>
        <p:spPr>
          <a:xfrm>
            <a:off x="430659" y="2441745"/>
            <a:ext cx="2618720" cy="1569660"/>
          </a:xfrm>
          <a:prstGeom prst="rect">
            <a:avLst/>
          </a:prstGeom>
          <a:noFill/>
        </p:spPr>
        <p:txBody>
          <a:bodyPr wrap="square" rtlCol="0">
            <a:spAutoFit/>
          </a:bodyPr>
          <a:lstStyle/>
          <a:p>
            <a:pPr algn="ctr"/>
            <a:r>
              <a:rPr lang="fr-FR" sz="2400" b="1" dirty="0">
                <a:solidFill>
                  <a:srgbClr val="004E9B"/>
                </a:solidFill>
                <a:latin typeface="DIN Next LT Pro Bold Condensed" panose="020B0806020203050203" pitchFamily="34" charset="0"/>
              </a:rPr>
              <a:t>Education </a:t>
            </a:r>
          </a:p>
          <a:p>
            <a:pPr algn="ctr"/>
            <a:r>
              <a:rPr lang="fr-FR" sz="2400" b="1" dirty="0">
                <a:solidFill>
                  <a:srgbClr val="004E9B"/>
                </a:solidFill>
                <a:latin typeface="DIN Next LT Pro Bold Condensed" panose="020B0806020203050203" pitchFamily="34" charset="0"/>
              </a:rPr>
              <a:t>et sensibilisation aux gestes de protection </a:t>
            </a:r>
          </a:p>
        </p:txBody>
      </p:sp>
      <p:sp>
        <p:nvSpPr>
          <p:cNvPr id="15" name="TextBox 14">
            <a:extLst>
              <a:ext uri="{FF2B5EF4-FFF2-40B4-BE49-F238E27FC236}">
                <a16:creationId xmlns:a16="http://schemas.microsoft.com/office/drawing/2014/main" id="{9EC9E8BC-12EF-48FA-9D4A-D8693F164354}"/>
              </a:ext>
            </a:extLst>
          </p:cNvPr>
          <p:cNvSpPr txBox="1"/>
          <p:nvPr/>
        </p:nvSpPr>
        <p:spPr>
          <a:xfrm>
            <a:off x="374106" y="4586267"/>
            <a:ext cx="2077112" cy="830997"/>
          </a:xfrm>
          <a:prstGeom prst="rect">
            <a:avLst/>
          </a:prstGeom>
          <a:noFill/>
        </p:spPr>
        <p:txBody>
          <a:bodyPr wrap="square" rtlCol="0">
            <a:spAutoFit/>
          </a:bodyPr>
          <a:lstStyle/>
          <a:p>
            <a:pPr algn="ctr"/>
            <a:r>
              <a:rPr lang="en-US" sz="2400" b="1" dirty="0">
                <a:solidFill>
                  <a:srgbClr val="004E9B"/>
                </a:solidFill>
                <a:latin typeface="DIN Next LT Pro Bold Condensed" panose="020B0806020203050203" pitchFamily="34" charset="0"/>
              </a:rPr>
              <a:t>Coordination de la </a:t>
            </a:r>
            <a:r>
              <a:rPr lang="en-US" sz="2400" b="1" dirty="0" err="1">
                <a:solidFill>
                  <a:srgbClr val="004E9B"/>
                </a:solidFill>
                <a:latin typeface="DIN Next LT Pro Bold Condensed" panose="020B0806020203050203" pitchFamily="34" charset="0"/>
              </a:rPr>
              <a:t>réponse</a:t>
            </a:r>
            <a:r>
              <a:rPr lang="en-US" sz="2400" b="1" dirty="0">
                <a:solidFill>
                  <a:srgbClr val="004E9B"/>
                </a:solidFill>
                <a:latin typeface="DIN Next LT Pro Bold Condensed" panose="020B0806020203050203" pitchFamily="34" charset="0"/>
              </a:rPr>
              <a:t> </a:t>
            </a:r>
          </a:p>
        </p:txBody>
      </p:sp>
      <p:sp>
        <p:nvSpPr>
          <p:cNvPr id="16" name="TextBox 15">
            <a:extLst>
              <a:ext uri="{FF2B5EF4-FFF2-40B4-BE49-F238E27FC236}">
                <a16:creationId xmlns:a16="http://schemas.microsoft.com/office/drawing/2014/main" id="{7C992011-C3CB-483A-93D9-6AE867CD6905}"/>
              </a:ext>
            </a:extLst>
          </p:cNvPr>
          <p:cNvSpPr txBox="1"/>
          <p:nvPr/>
        </p:nvSpPr>
        <p:spPr>
          <a:xfrm>
            <a:off x="2173062" y="1487604"/>
            <a:ext cx="3593721" cy="830997"/>
          </a:xfrm>
          <a:prstGeom prst="rect">
            <a:avLst/>
          </a:prstGeom>
          <a:noFill/>
        </p:spPr>
        <p:txBody>
          <a:bodyPr wrap="square" rtlCol="0">
            <a:spAutoFit/>
          </a:bodyPr>
          <a:lstStyle/>
          <a:p>
            <a:pPr algn="ctr"/>
            <a:r>
              <a:rPr lang="fr-FR" sz="2400" b="1" dirty="0">
                <a:solidFill>
                  <a:srgbClr val="004E9B"/>
                </a:solidFill>
                <a:latin typeface="DIN Next LT Pro Bold Condensed" panose="020B0806020203050203" pitchFamily="34" charset="0"/>
              </a:rPr>
              <a:t>Identification </a:t>
            </a:r>
          </a:p>
          <a:p>
            <a:pPr algn="ctr"/>
            <a:r>
              <a:rPr lang="fr-FR" sz="2400" b="1" dirty="0">
                <a:solidFill>
                  <a:srgbClr val="004E9B"/>
                </a:solidFill>
                <a:latin typeface="DIN Next LT Pro Bold Condensed" panose="020B0806020203050203" pitchFamily="34" charset="0"/>
              </a:rPr>
              <a:t>des cas</a:t>
            </a:r>
          </a:p>
        </p:txBody>
      </p:sp>
      <p:sp>
        <p:nvSpPr>
          <p:cNvPr id="17" name="TextBox 16">
            <a:extLst>
              <a:ext uri="{FF2B5EF4-FFF2-40B4-BE49-F238E27FC236}">
                <a16:creationId xmlns:a16="http://schemas.microsoft.com/office/drawing/2014/main" id="{165EF000-AF34-46E1-B0C3-103B3EAD6567}"/>
              </a:ext>
            </a:extLst>
          </p:cNvPr>
          <p:cNvSpPr txBox="1"/>
          <p:nvPr/>
        </p:nvSpPr>
        <p:spPr>
          <a:xfrm>
            <a:off x="8715933" y="2845785"/>
            <a:ext cx="2802493" cy="830997"/>
          </a:xfrm>
          <a:prstGeom prst="rect">
            <a:avLst/>
          </a:prstGeom>
          <a:noFill/>
        </p:spPr>
        <p:txBody>
          <a:bodyPr wrap="square" rtlCol="0">
            <a:spAutoFit/>
          </a:bodyPr>
          <a:lstStyle/>
          <a:p>
            <a:pPr algn="ctr"/>
            <a:r>
              <a:rPr lang="en-US" sz="2400" b="1" dirty="0">
                <a:solidFill>
                  <a:srgbClr val="004E9B"/>
                </a:solidFill>
                <a:latin typeface="DIN Next LT Pro Bold Condensed" panose="020B0806020203050203" pitchFamily="34" charset="0"/>
              </a:rPr>
              <a:t>Formation du personnel de santé </a:t>
            </a:r>
          </a:p>
        </p:txBody>
      </p:sp>
      <p:sp>
        <p:nvSpPr>
          <p:cNvPr id="18" name="TextBox 17">
            <a:extLst>
              <a:ext uri="{FF2B5EF4-FFF2-40B4-BE49-F238E27FC236}">
                <a16:creationId xmlns:a16="http://schemas.microsoft.com/office/drawing/2014/main" id="{19D85C23-F627-4105-B639-32EF1CE3E3F1}"/>
              </a:ext>
            </a:extLst>
          </p:cNvPr>
          <p:cNvSpPr txBox="1"/>
          <p:nvPr/>
        </p:nvSpPr>
        <p:spPr>
          <a:xfrm>
            <a:off x="9630708" y="4586267"/>
            <a:ext cx="2077112" cy="830997"/>
          </a:xfrm>
          <a:prstGeom prst="rect">
            <a:avLst/>
          </a:prstGeom>
          <a:noFill/>
        </p:spPr>
        <p:txBody>
          <a:bodyPr wrap="square" rtlCol="0">
            <a:spAutoFit/>
          </a:bodyPr>
          <a:lstStyle/>
          <a:p>
            <a:pPr algn="ctr"/>
            <a:r>
              <a:rPr lang="fr-FR" sz="2400" b="1" dirty="0">
                <a:solidFill>
                  <a:srgbClr val="004E9B"/>
                </a:solidFill>
                <a:latin typeface="DIN Next LT Pro Bold Condensed" panose="020B0806020203050203" pitchFamily="34" charset="0"/>
              </a:rPr>
              <a:t>Traçage des contacts </a:t>
            </a:r>
          </a:p>
        </p:txBody>
      </p:sp>
      <p:sp>
        <p:nvSpPr>
          <p:cNvPr id="19" name="TextBox 18">
            <a:extLst>
              <a:ext uri="{FF2B5EF4-FFF2-40B4-BE49-F238E27FC236}">
                <a16:creationId xmlns:a16="http://schemas.microsoft.com/office/drawing/2014/main" id="{4BA69222-AEB9-4D1A-8888-244F520D6C5B}"/>
              </a:ext>
            </a:extLst>
          </p:cNvPr>
          <p:cNvSpPr txBox="1"/>
          <p:nvPr/>
        </p:nvSpPr>
        <p:spPr>
          <a:xfrm>
            <a:off x="6920796" y="1487604"/>
            <a:ext cx="4011064" cy="830997"/>
          </a:xfrm>
          <a:prstGeom prst="rect">
            <a:avLst/>
          </a:prstGeom>
          <a:noFill/>
        </p:spPr>
        <p:txBody>
          <a:bodyPr wrap="square" rtlCol="0">
            <a:spAutoFit/>
          </a:bodyPr>
          <a:lstStyle/>
          <a:p>
            <a:pPr algn="ctr"/>
            <a:r>
              <a:rPr lang="fr-FR" sz="2400" b="1" dirty="0">
                <a:solidFill>
                  <a:srgbClr val="004E9B"/>
                </a:solidFill>
                <a:latin typeface="DIN Next LT Pro Bold Condensed" panose="020B0806020203050203" pitchFamily="34" charset="0"/>
              </a:rPr>
              <a:t>Confirmation par les laboratoires du programme </a:t>
            </a:r>
          </a:p>
        </p:txBody>
      </p:sp>
      <p:pic>
        <p:nvPicPr>
          <p:cNvPr id="4" name="Image 3">
            <a:extLst>
              <a:ext uri="{FF2B5EF4-FFF2-40B4-BE49-F238E27FC236}">
                <a16:creationId xmlns:a16="http://schemas.microsoft.com/office/drawing/2014/main" id="{A777C847-BBE4-9BF5-CE4F-89805D931CF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023704" y="6009799"/>
            <a:ext cx="2116636" cy="823136"/>
          </a:xfrm>
          <a:prstGeom prst="rect">
            <a:avLst/>
          </a:prstGeom>
        </p:spPr>
      </p:pic>
      <p:pic>
        <p:nvPicPr>
          <p:cNvPr id="13" name="Image 12">
            <a:extLst>
              <a:ext uri="{FF2B5EF4-FFF2-40B4-BE49-F238E27FC236}">
                <a16:creationId xmlns:a16="http://schemas.microsoft.com/office/drawing/2014/main" id="{6384CE35-D0E2-81E4-786C-5C0D69C9CCF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087379" y="0"/>
            <a:ext cx="913062" cy="1160020"/>
          </a:xfrm>
          <a:prstGeom prst="rect">
            <a:avLst/>
          </a:prstGeom>
        </p:spPr>
      </p:pic>
    </p:spTree>
    <p:extLst>
      <p:ext uri="{BB962C8B-B14F-4D97-AF65-F5344CB8AC3E}">
        <p14:creationId xmlns:p14="http://schemas.microsoft.com/office/powerpoint/2010/main" val="27338528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Image 1">
            <a:extLst>
              <a:ext uri="{FF2B5EF4-FFF2-40B4-BE49-F238E27FC236}">
                <a16:creationId xmlns:a16="http://schemas.microsoft.com/office/drawing/2014/main" id="{1DC13364-4B1E-A35A-5EBB-2C91F5C59AE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5688" y="-34925"/>
            <a:ext cx="10656887" cy="685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Image 1">
            <a:extLst>
              <a:ext uri="{FF2B5EF4-FFF2-40B4-BE49-F238E27FC236}">
                <a16:creationId xmlns:a16="http://schemas.microsoft.com/office/drawing/2014/main" id="{C1FF88A7-0FBB-8F33-0172-58FF45017BB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2500" y="0"/>
            <a:ext cx="10287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Image 1">
            <a:extLst>
              <a:ext uri="{FF2B5EF4-FFF2-40B4-BE49-F238E27FC236}">
                <a16:creationId xmlns:a16="http://schemas.microsoft.com/office/drawing/2014/main" id="{41B1CF6B-9F66-FB4A-0EDD-4C4575A57EB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2500" y="0"/>
            <a:ext cx="10287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Image 1">
            <a:extLst>
              <a:ext uri="{FF2B5EF4-FFF2-40B4-BE49-F238E27FC236}">
                <a16:creationId xmlns:a16="http://schemas.microsoft.com/office/drawing/2014/main" id="{53BC819F-451A-4B90-4EBB-A4A9B89C6D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2500" y="0"/>
            <a:ext cx="10287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5B99421-C513-43E0-BBC2-63CDC002ED7F}"/>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07063" y="668177"/>
            <a:ext cx="9797572" cy="5594121"/>
          </a:xfrm>
          <a:prstGeom prst="rect">
            <a:avLst/>
          </a:prstGeom>
        </p:spPr>
      </p:pic>
      <p:sp>
        <p:nvSpPr>
          <p:cNvPr id="2" name="Explosion 1 1"/>
          <p:cNvSpPr/>
          <p:nvPr/>
        </p:nvSpPr>
        <p:spPr>
          <a:xfrm>
            <a:off x="1007062" y="3690257"/>
            <a:ext cx="3864803" cy="2572041"/>
          </a:xfrm>
          <a:prstGeom prst="irregularSeal1">
            <a:avLst/>
          </a:prstGeom>
          <a:solidFill>
            <a:srgbClr val="F49B03"/>
          </a:solidFill>
          <a:ln>
            <a:solidFill>
              <a:srgbClr val="F49B0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800" dirty="0">
                <a:solidFill>
                  <a:schemeClr val="tx1"/>
                </a:solidFill>
              </a:rPr>
              <a:t>  </a:t>
            </a:r>
            <a:r>
              <a:rPr lang="en-GB" sz="2400" b="1" dirty="0">
                <a:solidFill>
                  <a:schemeClr val="bg1"/>
                </a:solidFill>
              </a:rPr>
              <a:t>200 000 </a:t>
            </a:r>
            <a:r>
              <a:rPr lang="en-GB" sz="2400" b="1" dirty="0" err="1">
                <a:solidFill>
                  <a:schemeClr val="bg1"/>
                </a:solidFill>
              </a:rPr>
              <a:t>cas</a:t>
            </a:r>
            <a:r>
              <a:rPr lang="en-GB" sz="2400" b="1" dirty="0">
                <a:solidFill>
                  <a:schemeClr val="bg1"/>
                </a:solidFill>
              </a:rPr>
              <a:t> par an </a:t>
            </a:r>
          </a:p>
          <a:p>
            <a:pPr algn="ctr">
              <a:defRPr/>
            </a:pPr>
            <a:r>
              <a:rPr lang="en-GB" sz="2400" b="1" dirty="0" err="1">
                <a:solidFill>
                  <a:schemeClr val="bg1"/>
                </a:solidFill>
              </a:rPr>
              <a:t>en</a:t>
            </a:r>
            <a:r>
              <a:rPr lang="en-GB" sz="2400" b="1" dirty="0">
                <a:solidFill>
                  <a:schemeClr val="bg1"/>
                </a:solidFill>
              </a:rPr>
              <a:t> 10 </a:t>
            </a:r>
            <a:r>
              <a:rPr lang="en-GB" sz="2400" b="1" dirty="0" err="1">
                <a:solidFill>
                  <a:schemeClr val="bg1"/>
                </a:solidFill>
              </a:rPr>
              <a:t>ans</a:t>
            </a:r>
            <a:r>
              <a:rPr lang="en-GB" sz="2400" b="1" dirty="0">
                <a:solidFill>
                  <a:schemeClr val="bg1"/>
                </a:solidFill>
              </a:rPr>
              <a:t> </a:t>
            </a:r>
            <a:endParaRPr lang="en-US" sz="2800" b="1" dirty="0">
              <a:solidFill>
                <a:schemeClr val="bg1"/>
              </a:solidFill>
            </a:endParaRPr>
          </a:p>
        </p:txBody>
      </p:sp>
      <p:sp>
        <p:nvSpPr>
          <p:cNvPr id="30" name="Rectangle 7">
            <a:extLst>
              <a:ext uri="{FF2B5EF4-FFF2-40B4-BE49-F238E27FC236}">
                <a16:creationId xmlns:a16="http://schemas.microsoft.com/office/drawing/2014/main" id="{D13CCCDB-E865-4385-B2F9-7B9F1F8DB9EB}"/>
              </a:ext>
            </a:extLst>
          </p:cNvPr>
          <p:cNvSpPr txBox="1">
            <a:spLocks noChangeArrowheads="1"/>
          </p:cNvSpPr>
          <p:nvPr/>
        </p:nvSpPr>
        <p:spPr bwMode="auto">
          <a:xfrm>
            <a:off x="369346" y="132070"/>
            <a:ext cx="10504481" cy="809471"/>
          </a:xfrm>
          <a:prstGeom prst="rect">
            <a:avLst/>
          </a:prstGeom>
          <a:solidFill>
            <a:schemeClr val="bg1">
              <a:alpha val="59000"/>
            </a:schemeClr>
          </a:solidFill>
          <a:ln>
            <a:noFill/>
          </a:ln>
        </p:spPr>
        <p:txBody>
          <a:bodyPr/>
          <a:lstStyle>
            <a:lvl1pPr defTabSz="449263" eaLnBrk="0" hangingPunct="0">
              <a:spcBef>
                <a:spcPct val="20000"/>
              </a:spcBef>
              <a:buChar char="•"/>
              <a:defRPr sz="3200">
                <a:solidFill>
                  <a:schemeClr val="tx1"/>
                </a:solidFill>
                <a:latin typeface="Arial" pitchFamily="34" charset="0"/>
                <a:cs typeface="Arial" pitchFamily="34" charset="0"/>
              </a:defRPr>
            </a:lvl1pPr>
            <a:lvl2pPr marL="742950" indent="-285750" defTabSz="449263" eaLnBrk="0" hangingPunct="0">
              <a:spcBef>
                <a:spcPct val="20000"/>
              </a:spcBef>
              <a:buChar char="–"/>
              <a:defRPr sz="2800">
                <a:solidFill>
                  <a:schemeClr val="tx1"/>
                </a:solidFill>
                <a:latin typeface="Arial" pitchFamily="34" charset="0"/>
                <a:cs typeface="Arial" pitchFamily="34" charset="0"/>
              </a:defRPr>
            </a:lvl2pPr>
            <a:lvl3pPr marL="1143000" indent="-228600" defTabSz="449263" eaLnBrk="0" hangingPunct="0">
              <a:spcBef>
                <a:spcPct val="20000"/>
              </a:spcBef>
              <a:buChar char="•"/>
              <a:defRPr sz="2400">
                <a:solidFill>
                  <a:schemeClr val="tx1"/>
                </a:solidFill>
                <a:latin typeface="Arial" pitchFamily="34" charset="0"/>
                <a:cs typeface="Arial" pitchFamily="34" charset="0"/>
              </a:defRPr>
            </a:lvl3pPr>
            <a:lvl4pPr marL="1600200" indent="-228600" defTabSz="449263" eaLnBrk="0" hangingPunct="0">
              <a:spcBef>
                <a:spcPct val="20000"/>
              </a:spcBef>
              <a:buChar char="–"/>
              <a:defRPr sz="2000">
                <a:solidFill>
                  <a:schemeClr val="tx1"/>
                </a:solidFill>
                <a:latin typeface="Arial" pitchFamily="34" charset="0"/>
                <a:cs typeface="Arial" pitchFamily="34" charset="0"/>
              </a:defRPr>
            </a:lvl4pPr>
            <a:lvl5pPr marL="2057400" indent="-228600" defTabSz="449263" eaLnBrk="0" hangingPunct="0">
              <a:spcBef>
                <a:spcPct val="20000"/>
              </a:spcBef>
              <a:buChar char="»"/>
              <a:defRPr sz="2000">
                <a:solidFill>
                  <a:schemeClr val="tx1"/>
                </a:solidFill>
                <a:latin typeface="Arial" pitchFamily="34" charset="0"/>
                <a:cs typeface="Arial" pitchFamily="34" charset="0"/>
              </a:defRPr>
            </a:lvl5pPr>
            <a:lvl6pPr marL="2514600" indent="-228600" defTabSz="449263"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defTabSz="449263"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defTabSz="449263"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defTabSz="449263"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algn="ctr">
              <a:spcBef>
                <a:spcPct val="0"/>
              </a:spcBef>
              <a:buClr>
                <a:srgbClr val="000066"/>
              </a:buClr>
              <a:buNone/>
            </a:pPr>
            <a:r>
              <a:rPr lang="fr-FR" altLang="en-US" sz="3600" b="1" dirty="0">
                <a:solidFill>
                  <a:srgbClr val="F49B03"/>
                </a:solidFill>
                <a:latin typeface="+mj-lt"/>
              </a:rPr>
              <a:t>Le Risque Persiste…</a:t>
            </a:r>
          </a:p>
        </p:txBody>
      </p:sp>
      <p:sp>
        <p:nvSpPr>
          <p:cNvPr id="9" name="Espace réservé du numéro de diapositive 3">
            <a:extLst>
              <a:ext uri="{FF2B5EF4-FFF2-40B4-BE49-F238E27FC236}">
                <a16:creationId xmlns:a16="http://schemas.microsoft.com/office/drawing/2014/main" id="{BF1DD1BD-9C99-4E9F-ACA0-3435FD1CCC44}"/>
              </a:ext>
            </a:extLst>
          </p:cNvPr>
          <p:cNvSpPr>
            <a:spLocks noGrp="1"/>
          </p:cNvSpPr>
          <p:nvPr>
            <p:ph type="sldNum" sz="quarter" idx="12"/>
          </p:nvPr>
        </p:nvSpPr>
        <p:spPr>
          <a:xfrm>
            <a:off x="3" y="6604000"/>
            <a:ext cx="2370667" cy="254000"/>
          </a:xfrm>
        </p:spPr>
        <p:txBody>
          <a:bodyPr/>
          <a:lstStyle/>
          <a:p>
            <a:fld id="{03D5B703-056F-479E-8893-F9987D298CDC}" type="slidenum">
              <a:rPr lang="en-GB" smtClean="0"/>
              <a:pPr/>
              <a:t>19</a:t>
            </a:fld>
            <a:endParaRPr lang="en-GB"/>
          </a:p>
        </p:txBody>
      </p:sp>
      <p:pic>
        <p:nvPicPr>
          <p:cNvPr id="5" name="Image 4">
            <a:extLst>
              <a:ext uri="{FF2B5EF4-FFF2-40B4-BE49-F238E27FC236}">
                <a16:creationId xmlns:a16="http://schemas.microsoft.com/office/drawing/2014/main" id="{C42FA18F-F01C-B356-A410-23941F7AB24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69803" y="0"/>
            <a:ext cx="2116636" cy="823136"/>
          </a:xfrm>
          <a:prstGeom prst="rect">
            <a:avLst/>
          </a:prstGeom>
        </p:spPr>
      </p:pic>
      <p:pic>
        <p:nvPicPr>
          <p:cNvPr id="10" name="Image 9">
            <a:extLst>
              <a:ext uri="{FF2B5EF4-FFF2-40B4-BE49-F238E27FC236}">
                <a16:creationId xmlns:a16="http://schemas.microsoft.com/office/drawing/2014/main" id="{62F6BD66-B5BF-8F99-BDFE-14B01491C9E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52111" y="5355508"/>
            <a:ext cx="913062" cy="1160020"/>
          </a:xfrm>
          <a:prstGeom prst="rect">
            <a:avLst/>
          </a:prstGeom>
        </p:spPr>
      </p:pic>
      <p:sp>
        <p:nvSpPr>
          <p:cNvPr id="4" name="Bulle narrative : ronde 3">
            <a:extLst>
              <a:ext uri="{FF2B5EF4-FFF2-40B4-BE49-F238E27FC236}">
                <a16:creationId xmlns:a16="http://schemas.microsoft.com/office/drawing/2014/main" id="{E37C7DB4-1BAD-FAF6-FC84-5085B54142D5}"/>
              </a:ext>
            </a:extLst>
          </p:cNvPr>
          <p:cNvSpPr/>
          <p:nvPr/>
        </p:nvSpPr>
        <p:spPr>
          <a:xfrm>
            <a:off x="2370671" y="822959"/>
            <a:ext cx="6385058" cy="3942081"/>
          </a:xfrm>
          <a:prstGeom prst="wedgeEllipseCallout">
            <a:avLst>
              <a:gd name="adj1" fmla="val -9571"/>
              <a:gd name="adj2" fmla="val 48186"/>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err="1"/>
              <a:t>En</a:t>
            </a:r>
            <a:r>
              <a:rPr lang="en-US" sz="2400" b="1" dirty="0"/>
              <a:t> </a:t>
            </a:r>
            <a:r>
              <a:rPr lang="en-US" sz="2400" b="1" dirty="0" err="1"/>
              <a:t>Juillet</a:t>
            </a:r>
            <a:r>
              <a:rPr lang="en-US" sz="2400" b="1" dirty="0"/>
              <a:t> …</a:t>
            </a:r>
          </a:p>
          <a:p>
            <a:pPr algn="ctr"/>
            <a:r>
              <a:rPr lang="en-US" sz="2400" b="1" dirty="0"/>
              <a:t>à New York, un homme de 20 </a:t>
            </a:r>
            <a:r>
              <a:rPr lang="en-US" sz="2400" b="1" dirty="0" err="1"/>
              <a:t>ans</a:t>
            </a:r>
            <a:r>
              <a:rPr lang="en-US" sz="2400" b="1" dirty="0"/>
              <a:t>, </a:t>
            </a:r>
          </a:p>
          <a:p>
            <a:pPr algn="ctr"/>
            <a:r>
              <a:rPr lang="en-US" sz="2400" b="1" dirty="0"/>
              <a:t>non </a:t>
            </a:r>
            <a:r>
              <a:rPr lang="en-US" sz="2400" b="1" dirty="0" err="1"/>
              <a:t>vacciné</a:t>
            </a:r>
            <a:r>
              <a:rPr lang="en-US" sz="2400" b="1" dirty="0"/>
              <a:t> a </a:t>
            </a:r>
            <a:r>
              <a:rPr lang="en-US" sz="2400" b="1" dirty="0" err="1"/>
              <a:t>été</a:t>
            </a:r>
            <a:r>
              <a:rPr lang="en-US" sz="2400" b="1" dirty="0"/>
              <a:t> </a:t>
            </a:r>
            <a:r>
              <a:rPr lang="en-US" sz="2400" b="1" dirty="0" err="1"/>
              <a:t>paralysé</a:t>
            </a:r>
            <a:r>
              <a:rPr lang="en-US" sz="2400" b="1" dirty="0"/>
              <a:t>!</a:t>
            </a:r>
          </a:p>
          <a:p>
            <a:pPr algn="ctr"/>
            <a:endParaRPr lang="en-US" sz="2400" b="1" dirty="0"/>
          </a:p>
          <a:p>
            <a:pPr algn="ctr"/>
            <a:r>
              <a:rPr lang="en-US" sz="2400" b="1" dirty="0"/>
              <a:t>Le virus </a:t>
            </a:r>
            <a:r>
              <a:rPr lang="en-US" sz="2400" b="1" dirty="0" err="1"/>
              <a:t>avait</a:t>
            </a:r>
            <a:r>
              <a:rPr lang="en-US" sz="2400" b="1" dirty="0"/>
              <a:t> </a:t>
            </a:r>
            <a:r>
              <a:rPr lang="en-US" sz="2400" b="1" dirty="0" err="1"/>
              <a:t>été</a:t>
            </a:r>
            <a:r>
              <a:rPr lang="en-US" sz="2400" b="1" dirty="0"/>
              <a:t> </a:t>
            </a:r>
            <a:r>
              <a:rPr lang="en-US" sz="2400" b="1" dirty="0" err="1"/>
              <a:t>détecté</a:t>
            </a:r>
            <a:r>
              <a:rPr lang="en-US" sz="2400" b="1" dirty="0"/>
              <a:t> dans les </a:t>
            </a:r>
            <a:r>
              <a:rPr lang="en-US" sz="2400" b="1" dirty="0" err="1"/>
              <a:t>eaux</a:t>
            </a:r>
            <a:r>
              <a:rPr lang="en-US" sz="2400" b="1" dirty="0"/>
              <a:t> </a:t>
            </a:r>
            <a:r>
              <a:rPr lang="en-US" sz="2400" b="1" dirty="0" err="1"/>
              <a:t>usées</a:t>
            </a:r>
            <a:r>
              <a:rPr lang="en-US" sz="2400" b="1" dirty="0"/>
              <a:t> </a:t>
            </a:r>
          </a:p>
          <a:p>
            <a:pPr algn="ctr"/>
            <a:r>
              <a:rPr lang="en-US" sz="2400" b="1" dirty="0"/>
              <a:t>à </a:t>
            </a:r>
            <a:r>
              <a:rPr lang="en-US" sz="2400" b="1" dirty="0" err="1"/>
              <a:t>Londres</a:t>
            </a:r>
            <a:r>
              <a:rPr lang="en-US" sz="2400" b="1" dirty="0"/>
              <a:t> et à </a:t>
            </a:r>
            <a:r>
              <a:rPr lang="en-US" sz="2400" b="1" dirty="0" err="1"/>
              <a:t>Jérusalem</a:t>
            </a:r>
            <a:r>
              <a:rPr lang="en-US" sz="2400" b="1" dirty="0"/>
              <a:t>…</a:t>
            </a:r>
          </a:p>
          <a:p>
            <a:pPr algn="ctr"/>
            <a:endParaRPr lang="en-US" sz="2400" b="1" dirty="0"/>
          </a:p>
        </p:txBody>
      </p:sp>
    </p:spTree>
    <p:extLst>
      <p:ext uri="{BB962C8B-B14F-4D97-AF65-F5344CB8AC3E}">
        <p14:creationId xmlns:p14="http://schemas.microsoft.com/office/powerpoint/2010/main" val="3048108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1" name="Picture 11" descr="5Mohcrawli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861842" y="3966091"/>
            <a:ext cx="3054568" cy="2524892"/>
          </a:xfrm>
          <a:prstGeom prst="rect">
            <a:avLst/>
          </a:prstGeom>
          <a:ln w="22225">
            <a:solidFill>
              <a:schemeClr val="tx1"/>
            </a:solidFill>
          </a:ln>
          <a:extLst>
            <a:ext uri="{909E8E84-426E-40DD-AFC4-6F175D3DCCD1}">
              <a14:hiddenFill xmlns:a14="http://schemas.microsoft.com/office/drawing/2010/main">
                <a:solidFill>
                  <a:srgbClr val="FFFFFF"/>
                </a:solidFill>
              </a14:hiddenFill>
            </a:ext>
          </a:extLst>
        </p:spPr>
      </p:pic>
      <p:sp>
        <p:nvSpPr>
          <p:cNvPr id="2" name="ZoneTexte 1">
            <a:extLst>
              <a:ext uri="{FF2B5EF4-FFF2-40B4-BE49-F238E27FC236}">
                <a16:creationId xmlns:a16="http://schemas.microsoft.com/office/drawing/2014/main" id="{2C597A94-519D-48A6-8C7D-544CD97CCE9F}"/>
              </a:ext>
            </a:extLst>
          </p:cNvPr>
          <p:cNvSpPr txBox="1"/>
          <p:nvPr/>
        </p:nvSpPr>
        <p:spPr>
          <a:xfrm>
            <a:off x="4408149" y="205124"/>
            <a:ext cx="3540586" cy="1200329"/>
          </a:xfrm>
          <a:prstGeom prst="rect">
            <a:avLst/>
          </a:prstGeom>
          <a:noFill/>
        </p:spPr>
        <p:txBody>
          <a:bodyPr wrap="none" rtlCol="0">
            <a:spAutoFit/>
          </a:bodyPr>
          <a:lstStyle/>
          <a:p>
            <a:pPr algn="ctr"/>
            <a:r>
              <a:rPr lang="fr-FR" sz="4000" b="1" dirty="0">
                <a:solidFill>
                  <a:srgbClr val="FFC000"/>
                </a:solidFill>
              </a:rPr>
              <a:t>La Poliomyélite </a:t>
            </a:r>
          </a:p>
          <a:p>
            <a:pPr algn="ctr"/>
            <a:endParaRPr lang="fr-FR" sz="3200" b="1" dirty="0"/>
          </a:p>
        </p:txBody>
      </p:sp>
      <p:sp>
        <p:nvSpPr>
          <p:cNvPr id="4" name="Rectangle 3">
            <a:extLst>
              <a:ext uri="{FF2B5EF4-FFF2-40B4-BE49-F238E27FC236}">
                <a16:creationId xmlns:a16="http://schemas.microsoft.com/office/drawing/2014/main" id="{90E1C81D-A78C-4EA9-A457-82878D1AFE9A}"/>
              </a:ext>
            </a:extLst>
          </p:cNvPr>
          <p:cNvSpPr/>
          <p:nvPr/>
        </p:nvSpPr>
        <p:spPr>
          <a:xfrm>
            <a:off x="9289255" y="54528"/>
            <a:ext cx="1369220" cy="6503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2" name="Espace réservé du numéro de diapositive 3">
            <a:extLst>
              <a:ext uri="{FF2B5EF4-FFF2-40B4-BE49-F238E27FC236}">
                <a16:creationId xmlns:a16="http://schemas.microsoft.com/office/drawing/2014/main" id="{01AE231F-F336-45B6-8BA4-E737299F750D}"/>
              </a:ext>
            </a:extLst>
          </p:cNvPr>
          <p:cNvSpPr txBox="1">
            <a:spLocks/>
          </p:cNvSpPr>
          <p:nvPr/>
        </p:nvSpPr>
        <p:spPr>
          <a:xfrm>
            <a:off x="3" y="6604000"/>
            <a:ext cx="2370667" cy="254000"/>
          </a:xfrm>
          <a:prstGeom prst="rect">
            <a:avLst/>
          </a:prstGeom>
        </p:spPr>
        <p:txBody>
          <a:bodyPr vert="horz" lIns="91440" tIns="45720" rIns="91440" bIns="45720" rtlCol="0" anchor="ctr"/>
          <a:lstStyle>
            <a:defPPr>
              <a:defRPr lang="en-US"/>
            </a:defPPr>
            <a:lvl1pPr algn="r" defTabSz="457200" fontAlgn="auto">
              <a:spcBef>
                <a:spcPts val="0"/>
              </a:spcBef>
              <a:spcAft>
                <a:spcPts val="0"/>
              </a:spcAft>
              <a:defRPr sz="1200">
                <a:solidFill>
                  <a:prstClr val="white"/>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3D5B703-056F-479E-8893-F9987D298CDC}" type="slidenum">
              <a:rPr lang="en-GB" smtClean="0"/>
              <a:pPr/>
              <a:t>2</a:t>
            </a:fld>
            <a:endParaRPr lang="en-GB"/>
          </a:p>
        </p:txBody>
      </p:sp>
      <p:pic>
        <p:nvPicPr>
          <p:cNvPr id="6" name="Image 5">
            <a:extLst>
              <a:ext uri="{FF2B5EF4-FFF2-40B4-BE49-F238E27FC236}">
                <a16:creationId xmlns:a16="http://schemas.microsoft.com/office/drawing/2014/main" id="{6276BEA2-A3DC-41CE-8971-72B45E3FCDE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5723" y="1521794"/>
            <a:ext cx="3466385" cy="2381473"/>
          </a:xfrm>
          <a:prstGeom prst="rect">
            <a:avLst/>
          </a:prstGeom>
        </p:spPr>
      </p:pic>
      <p:pic>
        <p:nvPicPr>
          <p:cNvPr id="16" name="Image 15" descr="Une image contenant texte, pierre, matériau de construction&#10;&#10;Description générée automatiquement">
            <a:extLst>
              <a:ext uri="{FF2B5EF4-FFF2-40B4-BE49-F238E27FC236}">
                <a16:creationId xmlns:a16="http://schemas.microsoft.com/office/drawing/2014/main" id="{F3C32F24-50FE-4F77-99BC-5F3E96622AF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89412" y="2138385"/>
            <a:ext cx="2510392" cy="3529763"/>
          </a:xfrm>
          <a:prstGeom prst="rect">
            <a:avLst/>
          </a:prstGeom>
        </p:spPr>
      </p:pic>
      <p:pic>
        <p:nvPicPr>
          <p:cNvPr id="18" name="Image 17" descr="Une image contenant texte, plancher, intérieur&#10;&#10;Description générée automatiquement">
            <a:extLst>
              <a:ext uri="{FF2B5EF4-FFF2-40B4-BE49-F238E27FC236}">
                <a16:creationId xmlns:a16="http://schemas.microsoft.com/office/drawing/2014/main" id="{8A32320E-EC5E-4A20-9CCE-605E6187182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8043886" y="89390"/>
            <a:ext cx="4026927" cy="2048995"/>
          </a:xfrm>
          <a:prstGeom prst="rect">
            <a:avLst/>
          </a:prstGeom>
        </p:spPr>
      </p:pic>
      <p:sp>
        <p:nvSpPr>
          <p:cNvPr id="19" name="ZoneTexte 18">
            <a:extLst>
              <a:ext uri="{FF2B5EF4-FFF2-40B4-BE49-F238E27FC236}">
                <a16:creationId xmlns:a16="http://schemas.microsoft.com/office/drawing/2014/main" id="{13AAF6C8-2B67-4A91-A642-07417D41A0EC}"/>
              </a:ext>
            </a:extLst>
          </p:cNvPr>
          <p:cNvSpPr txBox="1"/>
          <p:nvPr/>
        </p:nvSpPr>
        <p:spPr>
          <a:xfrm>
            <a:off x="8496300" y="3781425"/>
            <a:ext cx="45719" cy="369332"/>
          </a:xfrm>
          <a:prstGeom prst="rect">
            <a:avLst/>
          </a:prstGeom>
          <a:noFill/>
        </p:spPr>
        <p:txBody>
          <a:bodyPr wrap="square" rtlCol="0">
            <a:spAutoFit/>
          </a:bodyPr>
          <a:lstStyle/>
          <a:p>
            <a:endParaRPr lang="fr-FR" dirty="0"/>
          </a:p>
        </p:txBody>
      </p:sp>
      <p:sp>
        <p:nvSpPr>
          <p:cNvPr id="20" name="ZoneTexte 19">
            <a:extLst>
              <a:ext uri="{FF2B5EF4-FFF2-40B4-BE49-F238E27FC236}">
                <a16:creationId xmlns:a16="http://schemas.microsoft.com/office/drawing/2014/main" id="{0531674E-5D01-4D1F-9CC1-97BBE37374FC}"/>
              </a:ext>
            </a:extLst>
          </p:cNvPr>
          <p:cNvSpPr txBox="1"/>
          <p:nvPr/>
        </p:nvSpPr>
        <p:spPr>
          <a:xfrm>
            <a:off x="8225396" y="2733575"/>
            <a:ext cx="184731" cy="369332"/>
          </a:xfrm>
          <a:prstGeom prst="rect">
            <a:avLst/>
          </a:prstGeom>
          <a:noFill/>
        </p:spPr>
        <p:txBody>
          <a:bodyPr wrap="none" rtlCol="0">
            <a:spAutoFit/>
          </a:bodyPr>
          <a:lstStyle/>
          <a:p>
            <a:endParaRPr lang="fr-FR" dirty="0"/>
          </a:p>
        </p:txBody>
      </p:sp>
      <p:sp>
        <p:nvSpPr>
          <p:cNvPr id="15" name="ZoneTexte 14">
            <a:extLst>
              <a:ext uri="{FF2B5EF4-FFF2-40B4-BE49-F238E27FC236}">
                <a16:creationId xmlns:a16="http://schemas.microsoft.com/office/drawing/2014/main" id="{25901600-2600-4168-A1D8-F8A7E78A1913}"/>
              </a:ext>
            </a:extLst>
          </p:cNvPr>
          <p:cNvSpPr txBox="1"/>
          <p:nvPr/>
        </p:nvSpPr>
        <p:spPr>
          <a:xfrm>
            <a:off x="0" y="4314915"/>
            <a:ext cx="4267197" cy="1877437"/>
          </a:xfrm>
          <a:prstGeom prst="rect">
            <a:avLst/>
          </a:prstGeom>
          <a:noFill/>
        </p:spPr>
        <p:txBody>
          <a:bodyPr wrap="square" rtlCol="0">
            <a:spAutoFit/>
          </a:bodyPr>
          <a:lstStyle/>
          <a:p>
            <a:pPr algn="ctr">
              <a:spcBef>
                <a:spcPts val="1200"/>
              </a:spcBef>
            </a:pPr>
            <a:r>
              <a:rPr lang="fr-FR" sz="2400" dirty="0"/>
              <a:t>Transmission </a:t>
            </a:r>
            <a:r>
              <a:rPr lang="fr-FR" sz="2400" b="1" dirty="0"/>
              <a:t>fécale-orale</a:t>
            </a:r>
          </a:p>
          <a:p>
            <a:pPr algn="ctr">
              <a:spcBef>
                <a:spcPts val="1200"/>
              </a:spcBef>
            </a:pPr>
            <a:r>
              <a:rPr lang="fr-FR" sz="2400" dirty="0"/>
              <a:t>Affecte le système </a:t>
            </a:r>
            <a:r>
              <a:rPr lang="fr-FR" sz="2400" b="1" dirty="0"/>
              <a:t>nerveux </a:t>
            </a:r>
          </a:p>
          <a:p>
            <a:pPr algn="ctr">
              <a:spcBef>
                <a:spcPts val="1200"/>
              </a:spcBef>
            </a:pPr>
            <a:r>
              <a:rPr lang="fr-FR" sz="2400" dirty="0"/>
              <a:t>Cause des paralysies </a:t>
            </a:r>
            <a:r>
              <a:rPr lang="fr-FR" sz="2400" b="1" dirty="0"/>
              <a:t>irréversibles et parfois le décès</a:t>
            </a:r>
            <a:endParaRPr lang="fr-FR" sz="2400" dirty="0"/>
          </a:p>
        </p:txBody>
      </p:sp>
      <p:sp>
        <p:nvSpPr>
          <p:cNvPr id="17" name="ZoneTexte 16">
            <a:extLst>
              <a:ext uri="{FF2B5EF4-FFF2-40B4-BE49-F238E27FC236}">
                <a16:creationId xmlns:a16="http://schemas.microsoft.com/office/drawing/2014/main" id="{ABDCCDA5-49D4-4362-B43D-44EAD8621F0D}"/>
              </a:ext>
            </a:extLst>
          </p:cNvPr>
          <p:cNvSpPr txBox="1"/>
          <p:nvPr/>
        </p:nvSpPr>
        <p:spPr>
          <a:xfrm>
            <a:off x="7698636" y="2503014"/>
            <a:ext cx="4372177" cy="1400383"/>
          </a:xfrm>
          <a:prstGeom prst="rect">
            <a:avLst/>
          </a:prstGeom>
          <a:noFill/>
        </p:spPr>
        <p:txBody>
          <a:bodyPr wrap="square" rtlCol="0">
            <a:spAutoFit/>
          </a:bodyPr>
          <a:lstStyle/>
          <a:p>
            <a:pPr algn="ctr"/>
            <a:r>
              <a:rPr lang="fr-FR" sz="2000" b="1" dirty="0"/>
              <a:t>Sur 300 personnes infectées, </a:t>
            </a:r>
          </a:p>
          <a:p>
            <a:pPr algn="ctr"/>
            <a:r>
              <a:rPr lang="fr-FR" sz="2000" dirty="0"/>
              <a:t>1 seule développe la maladie</a:t>
            </a:r>
          </a:p>
          <a:p>
            <a:pPr algn="ctr">
              <a:spcBef>
                <a:spcPts val="600"/>
              </a:spcBef>
            </a:pPr>
            <a:r>
              <a:rPr lang="fr-FR" sz="2000" b="1" dirty="0"/>
              <a:t>299 porteurs asymptomatiques </a:t>
            </a:r>
            <a:r>
              <a:rPr lang="fr-FR" sz="2000" dirty="0"/>
              <a:t>peuvent transmettre le virus </a:t>
            </a:r>
          </a:p>
        </p:txBody>
      </p:sp>
      <p:sp>
        <p:nvSpPr>
          <p:cNvPr id="8" name="ZoneTexte 7">
            <a:extLst>
              <a:ext uri="{FF2B5EF4-FFF2-40B4-BE49-F238E27FC236}">
                <a16:creationId xmlns:a16="http://schemas.microsoft.com/office/drawing/2014/main" id="{C4F44C2D-8BE0-4941-8054-6B02E428B63A}"/>
              </a:ext>
            </a:extLst>
          </p:cNvPr>
          <p:cNvSpPr txBox="1"/>
          <p:nvPr/>
        </p:nvSpPr>
        <p:spPr>
          <a:xfrm>
            <a:off x="4158050" y="1401206"/>
            <a:ext cx="4040785" cy="523220"/>
          </a:xfrm>
          <a:prstGeom prst="rect">
            <a:avLst/>
          </a:prstGeom>
          <a:noFill/>
        </p:spPr>
        <p:txBody>
          <a:bodyPr wrap="none" rtlCol="0">
            <a:spAutoFit/>
          </a:bodyPr>
          <a:lstStyle/>
          <a:p>
            <a:pPr algn="ctr">
              <a:spcBef>
                <a:spcPts val="1200"/>
              </a:spcBef>
            </a:pPr>
            <a:r>
              <a:rPr lang="fr-FR" sz="2800" b="1" dirty="0"/>
              <a:t>Maladie Virale Millénaire </a:t>
            </a:r>
          </a:p>
        </p:txBody>
      </p:sp>
      <p:pic>
        <p:nvPicPr>
          <p:cNvPr id="7" name="Image 6">
            <a:extLst>
              <a:ext uri="{FF2B5EF4-FFF2-40B4-BE49-F238E27FC236}">
                <a16:creationId xmlns:a16="http://schemas.microsoft.com/office/drawing/2014/main" id="{D21AEC4F-EF18-8B31-5518-06296894D80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38420"/>
            <a:ext cx="2116636" cy="823136"/>
          </a:xfrm>
          <a:prstGeom prst="rect">
            <a:avLst/>
          </a:prstGeom>
        </p:spPr>
      </p:pic>
    </p:spTree>
    <p:extLst>
      <p:ext uri="{BB962C8B-B14F-4D97-AF65-F5344CB8AC3E}">
        <p14:creationId xmlns:p14="http://schemas.microsoft.com/office/powerpoint/2010/main" val="34330298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48595D"/>
        </a:solidFill>
        <a:effectLst/>
      </p:bgPr>
    </p:bg>
    <p:spTree>
      <p:nvGrpSpPr>
        <p:cNvPr id="1" name=""/>
        <p:cNvGrpSpPr/>
        <p:nvPr/>
      </p:nvGrpSpPr>
      <p:grpSpPr>
        <a:xfrm>
          <a:off x="0" y="0"/>
          <a:ext cx="0" cy="0"/>
          <a:chOff x="0" y="0"/>
          <a:chExt cx="0" cy="0"/>
        </a:xfrm>
      </p:grpSpPr>
      <p:sp>
        <p:nvSpPr>
          <p:cNvPr id="16" name="TextBox 15"/>
          <p:cNvSpPr txBox="1"/>
          <p:nvPr/>
        </p:nvSpPr>
        <p:spPr>
          <a:xfrm>
            <a:off x="344503" y="-94000"/>
            <a:ext cx="11502994" cy="1354217"/>
          </a:xfrm>
          <a:prstGeom prst="rect">
            <a:avLst/>
          </a:prstGeom>
          <a:noFill/>
        </p:spPr>
        <p:txBody>
          <a:bodyPr wrap="square" lIns="0" tIns="0" rIns="0" bIns="0" rtlCol="0">
            <a:spAutoFit/>
          </a:bodyPr>
          <a:lstStyle/>
          <a:p>
            <a:pPr marL="0" marR="0" lvl="0" indent="0" algn="ctr" defTabSz="914400" rtl="0" eaLnBrk="1" fontAlgn="auto" latinLnBrk="0" hangingPunct="1">
              <a:spcBef>
                <a:spcPts val="0"/>
              </a:spcBef>
              <a:spcAft>
                <a:spcPts val="0"/>
              </a:spcAft>
              <a:buClrTx/>
              <a:buSzTx/>
              <a:buFontTx/>
              <a:buNone/>
              <a:tabLst/>
              <a:defRPr/>
            </a:pPr>
            <a:r>
              <a:rPr lang="fr-CH" sz="4400" b="1" dirty="0">
                <a:solidFill>
                  <a:srgbClr val="F49B03"/>
                </a:solidFill>
                <a:cs typeface="Arial" pitchFamily="34" charset="0"/>
              </a:rPr>
              <a:t>Nous touchons au but </a:t>
            </a:r>
          </a:p>
          <a:p>
            <a:pPr marL="0" marR="0" lvl="0" indent="0" algn="ctr" defTabSz="914400" rtl="0" eaLnBrk="1" fontAlgn="auto" latinLnBrk="0" hangingPunct="1">
              <a:spcBef>
                <a:spcPts val="0"/>
              </a:spcBef>
              <a:spcAft>
                <a:spcPts val="0"/>
              </a:spcAft>
              <a:buClrTx/>
              <a:buSzTx/>
              <a:buFontTx/>
              <a:buNone/>
              <a:tabLst/>
              <a:defRPr/>
            </a:pPr>
            <a:r>
              <a:rPr lang="fr-CH" sz="4400" b="1" dirty="0">
                <a:solidFill>
                  <a:srgbClr val="F49B03"/>
                </a:solidFill>
                <a:cs typeface="Arial" pitchFamily="34" charset="0"/>
              </a:rPr>
              <a:t>Mais finir le travail coûte cher </a:t>
            </a:r>
          </a:p>
        </p:txBody>
      </p:sp>
      <p:sp>
        <p:nvSpPr>
          <p:cNvPr id="6" name="Rectangle 5">
            <a:extLst>
              <a:ext uri="{FF2B5EF4-FFF2-40B4-BE49-F238E27FC236}">
                <a16:creationId xmlns:a16="http://schemas.microsoft.com/office/drawing/2014/main" id="{19AAEB24-2067-F343-8436-7573135A034E}"/>
              </a:ext>
            </a:extLst>
          </p:cNvPr>
          <p:cNvSpPr/>
          <p:nvPr/>
        </p:nvSpPr>
        <p:spPr>
          <a:xfrm>
            <a:off x="0" y="1196788"/>
            <a:ext cx="12192000" cy="56612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Shape 107"/>
          <p:cNvSpPr/>
          <p:nvPr/>
        </p:nvSpPr>
        <p:spPr>
          <a:xfrm>
            <a:off x="8884693" y="4476481"/>
            <a:ext cx="2647666" cy="1629906"/>
          </a:xfrm>
          <a:prstGeom prst="rect">
            <a:avLst/>
          </a:prstGeom>
          <a:ln w="12700">
            <a:miter lim="400000"/>
          </a:ln>
          <a:extLst>
            <a:ext uri="{C572A759-6A51-4108-AA02-DFA0A04FC94B}">
              <ma14:wrappingTextBoxFlag xmlns:ma14="http://schemas.microsoft.com/office/mac/drawingml/2011/main" xmlns="" val="1"/>
            </a:ext>
          </a:extLst>
        </p:spPr>
        <p:txBody>
          <a:bodyPr lIns="71437" tIns="71437" rIns="71437" bIns="71437">
            <a:noAutofit/>
          </a:bodyPr>
          <a:lstStyle>
            <a:lvl1pPr algn="l">
              <a:defRPr sz="11200">
                <a:solidFill>
                  <a:srgbClr val="9B3788"/>
                </a:solidFill>
                <a:latin typeface="Arial"/>
                <a:ea typeface="Arial"/>
                <a:cs typeface="Arial"/>
                <a:sym typeface="Arial"/>
              </a:defRPr>
            </a:lvl1pPr>
          </a:lstStyle>
          <a:p>
            <a:pPr algn="ctr">
              <a:defRPr/>
            </a:pPr>
            <a:r>
              <a:rPr lang="fr-CH" sz="2000" b="1" dirty="0">
                <a:solidFill>
                  <a:srgbClr val="58585D"/>
                </a:solidFill>
                <a:latin typeface="Arial Black" charset="0"/>
              </a:rPr>
              <a:t>Maintenir une  </a:t>
            </a:r>
            <a:r>
              <a:rPr lang="fr-CH" sz="2000" b="1">
                <a:solidFill>
                  <a:srgbClr val="58585D"/>
                </a:solidFill>
                <a:latin typeface="Arial Black" charset="0"/>
              </a:rPr>
              <a:t>surveillance épidémiologique </a:t>
            </a:r>
            <a:r>
              <a:rPr lang="fr-CH" sz="2000" b="1" dirty="0">
                <a:solidFill>
                  <a:srgbClr val="58585D"/>
                </a:solidFill>
                <a:latin typeface="Arial Black" charset="0"/>
              </a:rPr>
              <a:t>de qualité dans plus de 70 pays </a:t>
            </a:r>
          </a:p>
        </p:txBody>
      </p:sp>
      <p:sp>
        <p:nvSpPr>
          <p:cNvPr id="4" name="Oval 3"/>
          <p:cNvSpPr/>
          <p:nvPr/>
        </p:nvSpPr>
        <p:spPr>
          <a:xfrm>
            <a:off x="8391395" y="1627308"/>
            <a:ext cx="3045292" cy="2870399"/>
          </a:xfrm>
          <a:prstGeom prst="ellipse">
            <a:avLst/>
          </a:prstGeom>
          <a:blipFill dpi="0" rotWithShape="1">
            <a:blip r:embed="rId3" cstate="email">
              <a:extLst>
                <a:ext uri="{28A0092B-C50C-407E-A947-70E740481C1C}">
                  <a14:useLocalDpi xmlns:a14="http://schemas.microsoft.com/office/drawing/2010/main"/>
                </a:ext>
              </a:extLst>
            </a:blip>
            <a:srcRect/>
            <a:stretch>
              <a:fillRect l="1000" t="1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9" name="Oval 8"/>
          <p:cNvSpPr/>
          <p:nvPr/>
        </p:nvSpPr>
        <p:spPr>
          <a:xfrm>
            <a:off x="4561868" y="1627308"/>
            <a:ext cx="3045292" cy="2870399"/>
          </a:xfrm>
          <a:prstGeom prst="ellipse">
            <a:avLst/>
          </a:prstGeom>
          <a:blipFill dpi="0" rotWithShape="1">
            <a:blip r:embed="rId4" cstate="email">
              <a:extLst>
                <a:ext uri="{28A0092B-C50C-407E-A947-70E740481C1C}">
                  <a14:useLocalDpi xmlns:a14="http://schemas.microsoft.com/office/drawing/2010/main"/>
                </a:ext>
              </a:extLst>
            </a:blip>
            <a:srcRect/>
            <a:stretch>
              <a:fillRect r="456" b="62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0" name="Oval 9"/>
          <p:cNvSpPr>
            <a:spLocks noChangeAspect="1"/>
          </p:cNvSpPr>
          <p:nvPr/>
        </p:nvSpPr>
        <p:spPr>
          <a:xfrm>
            <a:off x="860613" y="1627308"/>
            <a:ext cx="2926080" cy="2826483"/>
          </a:xfrm>
          <a:prstGeom prst="ellipse">
            <a:avLst/>
          </a:prstGeom>
          <a:blipFill dpi="0" rotWithShape="1">
            <a:blip r:embed="rId5"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1" name="Shape 107"/>
          <p:cNvSpPr/>
          <p:nvPr/>
        </p:nvSpPr>
        <p:spPr>
          <a:xfrm>
            <a:off x="933666" y="4476481"/>
            <a:ext cx="2779973" cy="1580148"/>
          </a:xfrm>
          <a:prstGeom prst="rect">
            <a:avLst/>
          </a:prstGeom>
          <a:ln w="12700">
            <a:miter lim="400000"/>
          </a:ln>
          <a:extLst>
            <a:ext uri="{C572A759-6A51-4108-AA02-DFA0A04FC94B}">
              <ma14:wrappingTextBoxFlag xmlns:ma14="http://schemas.microsoft.com/office/mac/drawingml/2011/main" xmlns="" val="1"/>
            </a:ext>
          </a:extLst>
        </p:spPr>
        <p:txBody>
          <a:bodyPr lIns="71437" tIns="71437" rIns="71437" bIns="71437">
            <a:noAutofit/>
          </a:bodyPr>
          <a:lstStyle>
            <a:lvl1pPr algn="l">
              <a:defRPr sz="11200">
                <a:solidFill>
                  <a:srgbClr val="9B3788"/>
                </a:solidFill>
                <a:latin typeface="Arial"/>
                <a:ea typeface="Arial"/>
                <a:cs typeface="Arial"/>
                <a:sym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2000" b="1" i="0" u="none" strike="noStrike" kern="1200" cap="none" spc="0" normalizeH="0" baseline="0" dirty="0">
                <a:ln>
                  <a:noFill/>
                </a:ln>
                <a:solidFill>
                  <a:srgbClr val="58585D"/>
                </a:solidFill>
                <a:effectLst/>
                <a:uLnTx/>
                <a:uFillTx/>
                <a:latin typeface="Arial Black" charset="0"/>
                <a:ea typeface="Arial Black" charset="0"/>
                <a:cs typeface="Arial Black" charset="0"/>
                <a:sym typeface="Arial"/>
              </a:rPr>
              <a:t>Vacciner 450 millions d’enfants tous les ans dans 60 pays à risque </a:t>
            </a:r>
            <a:endParaRPr kumimoji="0" lang="fr-CH" sz="2000" b="0" i="0" u="none" strike="noStrike" kern="1200" cap="none" spc="0" normalizeH="0" baseline="0" dirty="0">
              <a:ln>
                <a:noFill/>
              </a:ln>
              <a:solidFill>
                <a:srgbClr val="58585D"/>
              </a:solidFill>
              <a:effectLst/>
              <a:uLnTx/>
              <a:uFillTx/>
              <a:latin typeface="Arial" charset="0"/>
              <a:ea typeface="Arial" charset="0"/>
              <a:cs typeface="Arial" charset="0"/>
              <a:sym typeface="Arial"/>
            </a:endParaRPr>
          </a:p>
        </p:txBody>
      </p:sp>
      <p:sp>
        <p:nvSpPr>
          <p:cNvPr id="12" name="Shape 107"/>
          <p:cNvSpPr/>
          <p:nvPr/>
        </p:nvSpPr>
        <p:spPr>
          <a:xfrm>
            <a:off x="5039403" y="4537546"/>
            <a:ext cx="2399094" cy="1575959"/>
          </a:xfrm>
          <a:prstGeom prst="rect">
            <a:avLst/>
          </a:prstGeom>
          <a:ln w="12700">
            <a:miter lim="400000"/>
          </a:ln>
          <a:extLst>
            <a:ext uri="{C572A759-6A51-4108-AA02-DFA0A04FC94B}">
              <ma14:wrappingTextBoxFlag xmlns:ma14="http://schemas.microsoft.com/office/mac/drawingml/2011/main" xmlns="" val="1"/>
            </a:ext>
          </a:extLst>
        </p:spPr>
        <p:txBody>
          <a:bodyPr lIns="71437" tIns="71437" rIns="71437" bIns="71437">
            <a:noAutofit/>
          </a:bodyPr>
          <a:lstStyle>
            <a:lvl1pPr algn="l">
              <a:defRPr sz="11200">
                <a:solidFill>
                  <a:srgbClr val="9B3788"/>
                </a:solidFill>
                <a:latin typeface="Arial"/>
                <a:ea typeface="Arial"/>
                <a:cs typeface="Arial"/>
                <a:sym typeface="Arial"/>
              </a:defRPr>
            </a:lvl1pPr>
          </a:lstStyle>
          <a:p>
            <a:pPr algn="ctr">
              <a:defRPr/>
            </a:pPr>
            <a:r>
              <a:rPr lang="fr-CH" sz="2000" b="1" dirty="0">
                <a:solidFill>
                  <a:srgbClr val="58585D"/>
                </a:solidFill>
                <a:latin typeface="Arial Black" charset="0"/>
              </a:rPr>
              <a:t>Financer des centaines de milliers de vaccinateurs</a:t>
            </a:r>
          </a:p>
        </p:txBody>
      </p:sp>
    </p:spTree>
    <p:extLst>
      <p:ext uri="{BB962C8B-B14F-4D97-AF65-F5344CB8AC3E}">
        <p14:creationId xmlns:p14="http://schemas.microsoft.com/office/powerpoint/2010/main" val="35247639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FA0AFEDE-B6DD-4649-9C49-A1B1F9B75BF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7627" y="1499008"/>
            <a:ext cx="3227254" cy="4681152"/>
          </a:xfrm>
          <a:prstGeom prst="rect">
            <a:avLst/>
          </a:prstGeom>
        </p:spPr>
      </p:pic>
      <p:sp>
        <p:nvSpPr>
          <p:cNvPr id="3" name="Titre 2">
            <a:extLst>
              <a:ext uri="{FF2B5EF4-FFF2-40B4-BE49-F238E27FC236}">
                <a16:creationId xmlns:a16="http://schemas.microsoft.com/office/drawing/2014/main" id="{33E5860B-5844-4EB0-8586-24B4651D82F3}"/>
              </a:ext>
            </a:extLst>
          </p:cNvPr>
          <p:cNvSpPr>
            <a:spLocks noGrp="1"/>
          </p:cNvSpPr>
          <p:nvPr>
            <p:ph type="title"/>
          </p:nvPr>
        </p:nvSpPr>
        <p:spPr>
          <a:xfrm>
            <a:off x="1472269" y="279962"/>
            <a:ext cx="8871881" cy="823563"/>
          </a:xfrm>
        </p:spPr>
        <p:txBody>
          <a:bodyPr>
            <a:normAutofit/>
          </a:bodyPr>
          <a:lstStyle/>
          <a:p>
            <a:pPr defTabSz="449263" eaLnBrk="0" hangingPunct="0">
              <a:lnSpc>
                <a:spcPct val="90000"/>
              </a:lnSpc>
              <a:buClr>
                <a:srgbClr val="000066"/>
              </a:buClr>
            </a:pPr>
            <a:r>
              <a:rPr lang="fr-FR" b="1" dirty="0">
                <a:solidFill>
                  <a:srgbClr val="FFC000"/>
                </a:solidFill>
              </a:rPr>
              <a:t>Levons des fonds</a:t>
            </a:r>
          </a:p>
        </p:txBody>
      </p:sp>
      <p:grpSp>
        <p:nvGrpSpPr>
          <p:cNvPr id="19" name="Groupe 18">
            <a:extLst>
              <a:ext uri="{FF2B5EF4-FFF2-40B4-BE49-F238E27FC236}">
                <a16:creationId xmlns:a16="http://schemas.microsoft.com/office/drawing/2014/main" id="{3F4A2342-383C-4561-803B-3D83E6B8BF87}"/>
              </a:ext>
            </a:extLst>
          </p:cNvPr>
          <p:cNvGrpSpPr/>
          <p:nvPr/>
        </p:nvGrpSpPr>
        <p:grpSpPr>
          <a:xfrm>
            <a:off x="305569" y="10552194"/>
            <a:ext cx="2733575" cy="1033381"/>
            <a:chOff x="9307629" y="49032"/>
            <a:chExt cx="2733575" cy="1033381"/>
          </a:xfrm>
        </p:grpSpPr>
        <p:sp>
          <p:nvSpPr>
            <p:cNvPr id="20" name="Rectangle 19">
              <a:extLst>
                <a:ext uri="{FF2B5EF4-FFF2-40B4-BE49-F238E27FC236}">
                  <a16:creationId xmlns:a16="http://schemas.microsoft.com/office/drawing/2014/main" id="{CECDB3C3-5D58-43D2-9919-45E173E9D894}"/>
                </a:ext>
              </a:extLst>
            </p:cNvPr>
            <p:cNvSpPr/>
            <p:nvPr/>
          </p:nvSpPr>
          <p:spPr>
            <a:xfrm>
              <a:off x="9307629" y="134754"/>
              <a:ext cx="2733575" cy="904774"/>
            </a:xfrm>
            <a:prstGeom prst="rect">
              <a:avLst/>
            </a:prstGeom>
            <a:solidFill>
              <a:schemeClr val="bg1"/>
            </a:solidFill>
            <a:ln>
              <a:solidFill>
                <a:schemeClr val="bg1"/>
              </a:solidFill>
            </a:ln>
            <a:effectLst>
              <a:outerShdw blurRad="50800" dist="50800" dir="5400000" algn="ctr"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pic>
          <p:nvPicPr>
            <p:cNvPr id="21" name="Picture 6">
              <a:extLst>
                <a:ext uri="{FF2B5EF4-FFF2-40B4-BE49-F238E27FC236}">
                  <a16:creationId xmlns:a16="http://schemas.microsoft.com/office/drawing/2014/main" id="{2328634D-9DD0-43E0-881B-1EDDC700D67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81283" y="49032"/>
              <a:ext cx="1318172" cy="1033381"/>
            </a:xfrm>
            <a:prstGeom prst="rect">
              <a:avLst/>
            </a:prstGeom>
          </p:spPr>
        </p:pic>
      </p:grpSp>
      <p:pic>
        <p:nvPicPr>
          <p:cNvPr id="15" name="Image 14">
            <a:extLst>
              <a:ext uri="{FF2B5EF4-FFF2-40B4-BE49-F238E27FC236}">
                <a16:creationId xmlns:a16="http://schemas.microsoft.com/office/drawing/2014/main" id="{0FA87782-85EB-8135-575C-D59B20BF2D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9923" y="251580"/>
            <a:ext cx="2116636" cy="823136"/>
          </a:xfrm>
          <a:prstGeom prst="rect">
            <a:avLst/>
          </a:prstGeom>
        </p:spPr>
      </p:pic>
      <p:pic>
        <p:nvPicPr>
          <p:cNvPr id="16" name="Image 15">
            <a:extLst>
              <a:ext uri="{FF2B5EF4-FFF2-40B4-BE49-F238E27FC236}">
                <a16:creationId xmlns:a16="http://schemas.microsoft.com/office/drawing/2014/main" id="{DD9DB8EC-329A-2DD5-1BF9-7D2C80B1363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28719" y="83138"/>
            <a:ext cx="913062" cy="1160020"/>
          </a:xfrm>
          <a:prstGeom prst="rect">
            <a:avLst/>
          </a:prstGeom>
        </p:spPr>
      </p:pic>
      <p:grpSp>
        <p:nvGrpSpPr>
          <p:cNvPr id="18" name="Groupe 17">
            <a:extLst>
              <a:ext uri="{FF2B5EF4-FFF2-40B4-BE49-F238E27FC236}">
                <a16:creationId xmlns:a16="http://schemas.microsoft.com/office/drawing/2014/main" id="{A383CA04-3182-9BC9-C373-970C23368D02}"/>
              </a:ext>
            </a:extLst>
          </p:cNvPr>
          <p:cNvGrpSpPr/>
          <p:nvPr/>
        </p:nvGrpSpPr>
        <p:grpSpPr>
          <a:xfrm>
            <a:off x="4919945" y="3659656"/>
            <a:ext cx="3302635" cy="2918382"/>
            <a:chOff x="5958060" y="3839584"/>
            <a:chExt cx="3302635" cy="2918382"/>
          </a:xfrm>
        </p:grpSpPr>
        <p:pic>
          <p:nvPicPr>
            <p:cNvPr id="7" name="Image 6">
              <a:extLst>
                <a:ext uri="{FF2B5EF4-FFF2-40B4-BE49-F238E27FC236}">
                  <a16:creationId xmlns:a16="http://schemas.microsoft.com/office/drawing/2014/main" id="{32DC8FE6-182F-A521-7561-1B050C936A1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50654" y="3839584"/>
              <a:ext cx="2566471" cy="2507798"/>
            </a:xfrm>
            <a:prstGeom prst="rect">
              <a:avLst/>
            </a:prstGeom>
          </p:spPr>
        </p:pic>
        <p:sp>
          <p:nvSpPr>
            <p:cNvPr id="17" name="ZoneTexte 16">
              <a:extLst>
                <a:ext uri="{FF2B5EF4-FFF2-40B4-BE49-F238E27FC236}">
                  <a16:creationId xmlns:a16="http://schemas.microsoft.com/office/drawing/2014/main" id="{DB1D34FD-49D2-6FA5-C69C-8290DE560B46}"/>
                </a:ext>
              </a:extLst>
            </p:cNvPr>
            <p:cNvSpPr txBox="1"/>
            <p:nvPr/>
          </p:nvSpPr>
          <p:spPr>
            <a:xfrm>
              <a:off x="5958060" y="6388634"/>
              <a:ext cx="3302635" cy="369332"/>
            </a:xfrm>
            <a:prstGeom prst="rect">
              <a:avLst/>
            </a:prstGeom>
            <a:noFill/>
          </p:spPr>
          <p:txBody>
            <a:bodyPr wrap="none" rtlCol="0">
              <a:spAutoFit/>
            </a:bodyPr>
            <a:lstStyle/>
            <a:p>
              <a:r>
                <a:rPr lang="en-US" b="1" dirty="0" err="1"/>
                <a:t>Achetez</a:t>
              </a:r>
              <a:r>
                <a:rPr lang="en-US" b="1" dirty="0"/>
                <a:t> et </a:t>
              </a:r>
              <a:r>
                <a:rPr lang="en-US" b="1" dirty="0" err="1"/>
                <a:t>vendez</a:t>
              </a:r>
              <a:r>
                <a:rPr lang="en-US" b="1" dirty="0"/>
                <a:t> des </a:t>
              </a:r>
              <a:r>
                <a:rPr lang="en-US" b="1" dirty="0" err="1"/>
                <a:t>chocolats</a:t>
              </a:r>
              <a:r>
                <a:rPr lang="en-US" b="1" dirty="0"/>
                <a:t> </a:t>
              </a:r>
            </a:p>
          </p:txBody>
        </p:sp>
      </p:grpSp>
      <p:grpSp>
        <p:nvGrpSpPr>
          <p:cNvPr id="25" name="Groupe 24">
            <a:extLst>
              <a:ext uri="{FF2B5EF4-FFF2-40B4-BE49-F238E27FC236}">
                <a16:creationId xmlns:a16="http://schemas.microsoft.com/office/drawing/2014/main" id="{71217047-E1D0-1644-3376-EE0E7CAA46F3}"/>
              </a:ext>
            </a:extLst>
          </p:cNvPr>
          <p:cNvGrpSpPr/>
          <p:nvPr/>
        </p:nvGrpSpPr>
        <p:grpSpPr>
          <a:xfrm>
            <a:off x="5612415" y="1243158"/>
            <a:ext cx="2112203" cy="2433638"/>
            <a:chOff x="9872617" y="1886218"/>
            <a:chExt cx="2112203" cy="2433638"/>
          </a:xfrm>
        </p:grpSpPr>
        <p:pic>
          <p:nvPicPr>
            <p:cNvPr id="8" name="Image 7" descr="Une image contenant texte&#10;&#10;Description générée automatiquement">
              <a:extLst>
                <a:ext uri="{FF2B5EF4-FFF2-40B4-BE49-F238E27FC236}">
                  <a16:creationId xmlns:a16="http://schemas.microsoft.com/office/drawing/2014/main" id="{8F506CB7-873D-409C-8DF6-8AE504ABEAC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20540080">
              <a:off x="10026177" y="1886218"/>
              <a:ext cx="1370629" cy="1662678"/>
            </a:xfrm>
            <a:prstGeom prst="rect">
              <a:avLst/>
            </a:prstGeom>
          </p:spPr>
        </p:pic>
        <p:sp>
          <p:nvSpPr>
            <p:cNvPr id="23" name="ZoneTexte 22">
              <a:extLst>
                <a:ext uri="{FF2B5EF4-FFF2-40B4-BE49-F238E27FC236}">
                  <a16:creationId xmlns:a16="http://schemas.microsoft.com/office/drawing/2014/main" id="{F5259196-96A6-6F02-3A46-ABA1F5209680}"/>
                </a:ext>
              </a:extLst>
            </p:cNvPr>
            <p:cNvSpPr txBox="1"/>
            <p:nvPr/>
          </p:nvSpPr>
          <p:spPr>
            <a:xfrm>
              <a:off x="9872617" y="3673525"/>
              <a:ext cx="2112203" cy="646331"/>
            </a:xfrm>
            <a:prstGeom prst="rect">
              <a:avLst/>
            </a:prstGeom>
            <a:noFill/>
          </p:spPr>
          <p:txBody>
            <a:bodyPr wrap="square" rtlCol="0">
              <a:spAutoFit/>
            </a:bodyPr>
            <a:lstStyle/>
            <a:p>
              <a:pPr algn="ctr"/>
              <a:r>
                <a:rPr lang="en-US" b="1" dirty="0" err="1"/>
                <a:t>Affranchissons</a:t>
              </a:r>
              <a:r>
                <a:rPr lang="en-US" b="1" dirty="0"/>
                <a:t> nous de la polio</a:t>
              </a:r>
            </a:p>
          </p:txBody>
        </p:sp>
      </p:grpSp>
      <p:grpSp>
        <p:nvGrpSpPr>
          <p:cNvPr id="29" name="Groupe 28">
            <a:extLst>
              <a:ext uri="{FF2B5EF4-FFF2-40B4-BE49-F238E27FC236}">
                <a16:creationId xmlns:a16="http://schemas.microsoft.com/office/drawing/2014/main" id="{E22CECE6-3816-67F3-10CC-C646FC6C8864}"/>
              </a:ext>
            </a:extLst>
          </p:cNvPr>
          <p:cNvGrpSpPr/>
          <p:nvPr/>
        </p:nvGrpSpPr>
        <p:grpSpPr>
          <a:xfrm>
            <a:off x="8914530" y="2670930"/>
            <a:ext cx="3118996" cy="2242625"/>
            <a:chOff x="4822784" y="1617669"/>
            <a:chExt cx="3118996" cy="2242625"/>
          </a:xfrm>
        </p:grpSpPr>
        <p:pic>
          <p:nvPicPr>
            <p:cNvPr id="11" name="Image 10">
              <a:extLst>
                <a:ext uri="{FF2B5EF4-FFF2-40B4-BE49-F238E27FC236}">
                  <a16:creationId xmlns:a16="http://schemas.microsoft.com/office/drawing/2014/main" id="{9AAF57BD-FCF1-44D2-92A5-85B26F60064C}"/>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822784" y="1689535"/>
              <a:ext cx="1589521" cy="1368283"/>
            </a:xfrm>
            <a:prstGeom prst="rect">
              <a:avLst/>
            </a:prstGeom>
          </p:spPr>
        </p:pic>
        <p:pic>
          <p:nvPicPr>
            <p:cNvPr id="27" name="Image 26">
              <a:extLst>
                <a:ext uri="{FF2B5EF4-FFF2-40B4-BE49-F238E27FC236}">
                  <a16:creationId xmlns:a16="http://schemas.microsoft.com/office/drawing/2014/main" id="{CF117C12-811A-FEF6-685F-E218C8C8FA6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543553" y="1617669"/>
              <a:ext cx="1396679" cy="1494760"/>
            </a:xfrm>
            <a:prstGeom prst="rect">
              <a:avLst/>
            </a:prstGeom>
          </p:spPr>
        </p:pic>
        <p:sp>
          <p:nvSpPr>
            <p:cNvPr id="28" name="ZoneTexte 27">
              <a:extLst>
                <a:ext uri="{FF2B5EF4-FFF2-40B4-BE49-F238E27FC236}">
                  <a16:creationId xmlns:a16="http://schemas.microsoft.com/office/drawing/2014/main" id="{DC52FE3F-C3C7-11D8-92BB-1A9E27BCB590}"/>
                </a:ext>
              </a:extLst>
            </p:cNvPr>
            <p:cNvSpPr txBox="1"/>
            <p:nvPr/>
          </p:nvSpPr>
          <p:spPr>
            <a:xfrm>
              <a:off x="4999756" y="3213963"/>
              <a:ext cx="2942024" cy="646331"/>
            </a:xfrm>
            <a:prstGeom prst="rect">
              <a:avLst/>
            </a:prstGeom>
            <a:noFill/>
          </p:spPr>
          <p:txBody>
            <a:bodyPr wrap="none" rtlCol="0">
              <a:spAutoFit/>
            </a:bodyPr>
            <a:lstStyle/>
            <a:p>
              <a:r>
                <a:rPr lang="en-US" b="1" dirty="0" err="1"/>
                <a:t>Rejoignez</a:t>
              </a:r>
              <a:r>
                <a:rPr lang="en-US" b="1" dirty="0"/>
                <a:t>  le Cercle PolioPlus</a:t>
              </a:r>
            </a:p>
            <a:p>
              <a:r>
                <a:rPr lang="en-US" b="1" dirty="0">
                  <a:hlinkClick r:id="rId10"/>
                </a:rPr>
                <a:t>https://cerclepolioplus.org</a:t>
              </a:r>
              <a:r>
                <a:rPr lang="en-US" b="1" dirty="0"/>
                <a:t>  </a:t>
              </a:r>
            </a:p>
          </p:txBody>
        </p:sp>
      </p:grpSp>
      <p:sp>
        <p:nvSpPr>
          <p:cNvPr id="2" name="Bulle narrative : rectangle à coins arrondis 1">
            <a:extLst>
              <a:ext uri="{FF2B5EF4-FFF2-40B4-BE49-F238E27FC236}">
                <a16:creationId xmlns:a16="http://schemas.microsoft.com/office/drawing/2014/main" id="{48E52FB6-9A0F-4A42-891B-F6E8A8232A7F}"/>
              </a:ext>
            </a:extLst>
          </p:cNvPr>
          <p:cNvSpPr/>
          <p:nvPr/>
        </p:nvSpPr>
        <p:spPr>
          <a:xfrm>
            <a:off x="3982757" y="2461071"/>
            <a:ext cx="5043121" cy="4116967"/>
          </a:xfrm>
          <a:prstGeom prst="wedgeRoundRectCallout">
            <a:avLst>
              <a:gd name="adj1" fmla="val -34707"/>
              <a:gd name="adj2" fmla="val -78584"/>
              <a:gd name="adj3" fmla="val 16667"/>
            </a:avLst>
          </a:prstGeom>
          <a:solidFill>
            <a:srgbClr val="FFC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2400" b="1" dirty="0"/>
              <a:t>Le Rotary  s’engage à lever 50 millions de $ tous les ans</a:t>
            </a:r>
          </a:p>
          <a:p>
            <a:pPr algn="ctr"/>
            <a:endParaRPr lang="fr-FR" sz="2400" b="1" dirty="0"/>
          </a:p>
          <a:p>
            <a:pPr algn="ctr"/>
            <a:r>
              <a:rPr lang="fr-FR" sz="2400" b="1" dirty="0"/>
              <a:t>Pour chaque $ du Rotary, </a:t>
            </a:r>
          </a:p>
          <a:p>
            <a:pPr algn="ctr"/>
            <a:r>
              <a:rPr lang="fr-FR" sz="2400" b="1" dirty="0"/>
              <a:t>la Fondation Bill et Melinda Gates abonde 2 $</a:t>
            </a:r>
          </a:p>
          <a:p>
            <a:pPr algn="ctr"/>
            <a:r>
              <a:rPr lang="fr-FR" sz="2400" b="1" dirty="0"/>
              <a:t>1 = 3 !!!</a:t>
            </a:r>
          </a:p>
          <a:p>
            <a:pPr algn="ctr"/>
            <a:r>
              <a:rPr lang="fr-FR" sz="2800" b="1" dirty="0">
                <a:solidFill>
                  <a:srgbClr val="FF0000"/>
                </a:solidFill>
              </a:rPr>
              <a:t>Contribuons à cet effort !</a:t>
            </a:r>
          </a:p>
        </p:txBody>
      </p:sp>
    </p:spTree>
    <p:extLst>
      <p:ext uri="{BB962C8B-B14F-4D97-AF65-F5344CB8AC3E}">
        <p14:creationId xmlns:p14="http://schemas.microsoft.com/office/powerpoint/2010/main" val="1551945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gtEl>
                                        <p:attrNameLst>
                                          <p:attrName>style.visibility</p:attrName>
                                        </p:attrNameLst>
                                      </p:cBhvr>
                                      <p:to>
                                        <p:strVal val="visible"/>
                                      </p:to>
                                    </p:set>
                                  </p:childTnLst>
                                  <p:subTnLst>
                                    <p:set>
                                      <p:cBhvr override="childStyle">
                                        <p:cTn dur="1" fill="hold" display="0" masterRel="nextClick" afterEffect="1"/>
                                        <p:tgtEl>
                                          <p:spTgt spid="2"/>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A4672C4-1340-4D90-838C-3E6633A4C5C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0" y="10"/>
            <a:ext cx="8668492" cy="6857990"/>
          </a:xfrm>
          <a:prstGeom prst="rect">
            <a:avLst/>
          </a:prstGeom>
        </p:spPr>
      </p:pic>
      <p:sp>
        <p:nvSpPr>
          <p:cNvPr id="11" name="Rectangle 3">
            <a:extLst>
              <a:ext uri="{FF2B5EF4-FFF2-40B4-BE49-F238E27FC236}">
                <a16:creationId xmlns:a16="http://schemas.microsoft.com/office/drawing/2014/main" id="{A34A0FA5-801E-4026-8304-35412B4B39A3}"/>
              </a:ext>
            </a:extLst>
          </p:cNvPr>
          <p:cNvSpPr txBox="1">
            <a:spLocks noChangeArrowheads="1"/>
          </p:cNvSpPr>
          <p:nvPr/>
        </p:nvSpPr>
        <p:spPr bwMode="auto">
          <a:xfrm>
            <a:off x="7466547" y="1528648"/>
            <a:ext cx="4727369" cy="5323871"/>
          </a:xfrm>
          <a:prstGeom prst="rect">
            <a:avLst/>
          </a:prstGeom>
          <a:solidFill>
            <a:schemeClr val="bg1"/>
          </a:solidFill>
        </p:spPr>
        <p:txBody>
          <a:bodyPr vert="horz" lIns="91440" tIns="45720" rIns="91440" bIns="45720" numCol="1" rtlCol="0" anchor="t" anchorCtr="0" compatLnSpc="1">
            <a:prstTxWarp prst="textNoShape">
              <a:avLst/>
            </a:prstTxWarp>
            <a:noAutofit/>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3 milliards d’enfants vaccinés</a:t>
            </a:r>
          </a:p>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19 millions de paralysies évitées</a:t>
            </a:r>
          </a:p>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1.5 millions vies sauvées</a:t>
            </a:r>
          </a:p>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20 millions de bénévoles mobilisés </a:t>
            </a:r>
          </a:p>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2 des 3 types du virus sauvage éradiqués</a:t>
            </a:r>
          </a:p>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5 des 6 régions du monde libérées du virus sauvage</a:t>
            </a:r>
          </a:p>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Nombre de cas réduit de 99.99 %</a:t>
            </a:r>
          </a:p>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Et …Les Plus de PolioPlus: </a:t>
            </a:r>
            <a:r>
              <a:rPr kumimoji="0" lang="fr-CH" sz="2200" i="0" u="none" strike="noStrike" kern="1200" cap="none" spc="0" normalizeH="0" baseline="0" noProof="0" dirty="0">
                <a:ln>
                  <a:noFill/>
                </a:ln>
                <a:solidFill>
                  <a:prstClr val="black"/>
                </a:solidFill>
                <a:effectLst/>
                <a:uLnTx/>
                <a:uFillTx/>
                <a:latin typeface="Calibri"/>
                <a:ea typeface="+mn-ea"/>
                <a:cs typeface="+mn-cs"/>
              </a:rPr>
              <a:t>Une infrastructure et une expérience bien au delà de la polio </a:t>
            </a:r>
          </a:p>
        </p:txBody>
      </p:sp>
      <p:sp>
        <p:nvSpPr>
          <p:cNvPr id="2" name="TextBox 1">
            <a:extLst>
              <a:ext uri="{FF2B5EF4-FFF2-40B4-BE49-F238E27FC236}">
                <a16:creationId xmlns:a16="http://schemas.microsoft.com/office/drawing/2014/main" id="{9DEAA53A-C8E4-4A0A-AC5E-2F3AB4BEF6DE}"/>
              </a:ext>
            </a:extLst>
          </p:cNvPr>
          <p:cNvSpPr txBox="1"/>
          <p:nvPr/>
        </p:nvSpPr>
        <p:spPr>
          <a:xfrm>
            <a:off x="7466547" y="880110"/>
            <a:ext cx="4842533" cy="654018"/>
          </a:xfrm>
          <a:prstGeom prst="rect">
            <a:avLst/>
          </a:prstGeom>
          <a:solidFill>
            <a:schemeClr val="bg1"/>
          </a:solidFill>
        </p:spPr>
        <p:txBody>
          <a:bodyPr vert="horz" lIns="91440" tIns="45720" rIns="91440" bIns="45720" rtlCol="0" anchor="b">
            <a:normAutofit/>
          </a:bodyPr>
          <a:lstStyle>
            <a:defPPr>
              <a:defRPr lang="en-US"/>
            </a:defPPr>
            <a:lvl1pPr marR="0" lvl="0" indent="0" algn="ctr" defTabSz="457200" fontAlgn="base">
              <a:lnSpc>
                <a:spcPct val="100000"/>
              </a:lnSpc>
              <a:spcBef>
                <a:spcPct val="0"/>
              </a:spcBef>
              <a:spcAft>
                <a:spcPct val="0"/>
              </a:spcAft>
              <a:buClrTx/>
              <a:buSzTx/>
              <a:buFontTx/>
              <a:buNone/>
              <a:tabLst/>
              <a:defRPr sz="3600" b="1">
                <a:solidFill>
                  <a:srgbClr val="F49B03"/>
                </a:solidFill>
                <a:latin typeface="+mj-lt"/>
                <a:ea typeface="+mj-ea"/>
                <a:cs typeface="+mj-cs"/>
              </a:defRPr>
            </a:lvl1p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0" lang="fr-CH" altLang="en-US" sz="2800" b="1" i="0" u="none" strike="noStrike" kern="1200" cap="none" spc="0" normalizeH="0" baseline="0" noProof="0" dirty="0">
                <a:ln>
                  <a:noFill/>
                </a:ln>
                <a:solidFill>
                  <a:srgbClr val="F49B03"/>
                </a:solidFill>
                <a:effectLst/>
                <a:uLnTx/>
                <a:uFillTx/>
                <a:latin typeface="Calibri"/>
                <a:ea typeface="+mj-ea"/>
                <a:cs typeface="+mj-cs"/>
              </a:rPr>
              <a:t>Nous pouvons être très fiers ! </a:t>
            </a:r>
          </a:p>
        </p:txBody>
      </p:sp>
      <p:sp>
        <p:nvSpPr>
          <p:cNvPr id="13" name="Bulle narrative : ronde 12">
            <a:extLst>
              <a:ext uri="{FF2B5EF4-FFF2-40B4-BE49-F238E27FC236}">
                <a16:creationId xmlns:a16="http://schemas.microsoft.com/office/drawing/2014/main" id="{B202152F-A1A5-4869-AE5D-516F1D2EB95A}"/>
              </a:ext>
            </a:extLst>
          </p:cNvPr>
          <p:cNvSpPr/>
          <p:nvPr/>
        </p:nvSpPr>
        <p:spPr>
          <a:xfrm>
            <a:off x="2439735" y="3712237"/>
            <a:ext cx="4697095" cy="1971787"/>
          </a:xfrm>
          <a:prstGeom prst="wedgeEllipseCallout">
            <a:avLst>
              <a:gd name="adj1" fmla="val -79815"/>
              <a:gd name="adj2" fmla="val -112786"/>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0" lang="fr-CH" altLang="en-US" sz="3600" b="1" i="0" u="none" strike="noStrike" kern="1200" cap="none" spc="0" normalizeH="0" baseline="0" noProof="0" dirty="0">
                <a:ln>
                  <a:noFill/>
                </a:ln>
                <a:solidFill>
                  <a:schemeClr val="tx1"/>
                </a:solidFill>
                <a:effectLst/>
                <a:uLnTx/>
                <a:uFillTx/>
                <a:latin typeface="Calibri"/>
                <a:ea typeface="+mn-ea"/>
                <a:cs typeface="+mn-cs"/>
              </a:rPr>
              <a:t>Restons Engagés jusqu’au</a:t>
            </a:r>
            <a:r>
              <a:rPr lang="fr-CH" altLang="en-US" sz="3600" b="1" dirty="0">
                <a:solidFill>
                  <a:schemeClr val="tx1"/>
                </a:solidFill>
                <a:latin typeface="Calibri"/>
              </a:rPr>
              <a:t> bout </a:t>
            </a:r>
            <a:r>
              <a:rPr kumimoji="0" lang="fr-CH" altLang="en-US" sz="3600" b="1" i="0" u="none" strike="noStrike" kern="1200" cap="none" spc="0" normalizeH="0" baseline="0" noProof="0" dirty="0">
                <a:ln>
                  <a:noFill/>
                </a:ln>
                <a:solidFill>
                  <a:schemeClr val="tx1"/>
                </a:solidFill>
                <a:effectLst/>
                <a:uLnTx/>
                <a:uFillTx/>
                <a:latin typeface="Calibri"/>
                <a:ea typeface="+mn-ea"/>
                <a:cs typeface="+mn-cs"/>
              </a:rPr>
              <a:t>!</a:t>
            </a:r>
          </a:p>
          <a:p>
            <a:pPr marL="0" marR="0" lvl="0" indent="0" algn="ctr" defTabSz="914400" rtl="0" eaLnBrk="1" fontAlgn="base" latinLnBrk="0" hangingPunct="1">
              <a:lnSpc>
                <a:spcPct val="100000"/>
              </a:lnSpc>
              <a:spcBef>
                <a:spcPts val="0"/>
              </a:spcBef>
              <a:spcAft>
                <a:spcPct val="0"/>
              </a:spcAft>
              <a:buClrTx/>
              <a:buSzTx/>
              <a:buFontTx/>
              <a:buNone/>
              <a:tabLst/>
              <a:defRPr/>
            </a:pPr>
            <a:r>
              <a:rPr kumimoji="0" lang="fr-CH" altLang="en-US" sz="3600" b="1" i="0" u="none" strike="noStrike" kern="1200" cap="none" spc="0" normalizeH="0" baseline="0" noProof="0" dirty="0">
                <a:ln>
                  <a:noFill/>
                </a:ln>
                <a:solidFill>
                  <a:schemeClr val="tx1"/>
                </a:solidFill>
                <a:effectLst/>
                <a:uLnTx/>
                <a:uFillTx/>
                <a:latin typeface="Calibri"/>
                <a:ea typeface="+mn-ea"/>
                <a:cs typeface="+mn-cs"/>
              </a:rPr>
              <a:t>pour</a:t>
            </a:r>
            <a:r>
              <a:rPr lang="fr-CH" altLang="en-US" sz="3600" b="1" dirty="0">
                <a:solidFill>
                  <a:schemeClr val="tx1"/>
                </a:solidFill>
                <a:latin typeface="Calibri"/>
              </a:rPr>
              <a:t>…</a:t>
            </a:r>
            <a:r>
              <a:rPr kumimoji="0" lang="fr-CH" altLang="en-US" sz="3600" b="1" i="0" u="none" strike="noStrike" kern="1200" cap="none" spc="0" normalizeH="0" baseline="0" noProof="0" dirty="0">
                <a:ln>
                  <a:noFill/>
                </a:ln>
                <a:solidFill>
                  <a:schemeClr val="tx1"/>
                </a:solidFill>
                <a:effectLst/>
                <a:uLnTx/>
                <a:uFillTx/>
                <a:latin typeface="Calibri"/>
                <a:ea typeface="+mn-ea"/>
                <a:cs typeface="+mn-cs"/>
              </a:rPr>
              <a:t> </a:t>
            </a:r>
          </a:p>
        </p:txBody>
      </p:sp>
      <p:pic>
        <p:nvPicPr>
          <p:cNvPr id="4" name="Image 3">
            <a:extLst>
              <a:ext uri="{FF2B5EF4-FFF2-40B4-BE49-F238E27FC236}">
                <a16:creationId xmlns:a16="http://schemas.microsoft.com/office/drawing/2014/main" id="{09F2B8D2-DB18-7A0C-FF34-18FF73C308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37903" y="0"/>
            <a:ext cx="2116636" cy="823136"/>
          </a:xfrm>
          <a:prstGeom prst="rect">
            <a:avLst/>
          </a:prstGeom>
        </p:spPr>
      </p:pic>
      <p:pic>
        <p:nvPicPr>
          <p:cNvPr id="5" name="Image 4">
            <a:extLst>
              <a:ext uri="{FF2B5EF4-FFF2-40B4-BE49-F238E27FC236}">
                <a16:creationId xmlns:a16="http://schemas.microsoft.com/office/drawing/2014/main" id="{552873AE-68B8-5D9E-F16B-5864C054956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50595" y="96123"/>
            <a:ext cx="777816" cy="988194"/>
          </a:xfrm>
          <a:prstGeom prst="rect">
            <a:avLst/>
          </a:prstGeom>
        </p:spPr>
      </p:pic>
    </p:spTree>
    <p:extLst>
      <p:ext uri="{BB962C8B-B14F-4D97-AF65-F5344CB8AC3E}">
        <p14:creationId xmlns:p14="http://schemas.microsoft.com/office/powerpoint/2010/main" val="21052153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5"/>
          <p:cNvSpPr>
            <a:spLocks noChangeArrowheads="1"/>
          </p:cNvSpPr>
          <p:nvPr/>
        </p:nvSpPr>
        <p:spPr bwMode="auto">
          <a:xfrm>
            <a:off x="4007768" y="911440"/>
            <a:ext cx="4543596" cy="342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lvl="1" algn="just" eaLnBrk="1" fontAlgn="base" hangingPunct="1">
              <a:spcBef>
                <a:spcPct val="0"/>
              </a:spcBef>
              <a:spcAft>
                <a:spcPct val="0"/>
              </a:spcAft>
            </a:pPr>
            <a:endParaRPr lang="de-CH" altLang="en-US" sz="2400" dirty="0">
              <a:solidFill>
                <a:prstClr val="black"/>
              </a:solidFill>
            </a:endParaRPr>
          </a:p>
        </p:txBody>
      </p:sp>
      <p:sp>
        <p:nvSpPr>
          <p:cNvPr id="3075" name="Rectangle 6"/>
          <p:cNvSpPr>
            <a:spLocks noChangeArrowheads="1"/>
          </p:cNvSpPr>
          <p:nvPr/>
        </p:nvSpPr>
        <p:spPr bwMode="auto">
          <a:xfrm>
            <a:off x="543345" y="1540565"/>
            <a:ext cx="10930579" cy="5389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144000" rIns="14400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lnSpc>
                <a:spcPct val="110000"/>
              </a:lnSpc>
              <a:spcBef>
                <a:spcPct val="0"/>
              </a:spcBef>
              <a:spcAft>
                <a:spcPct val="0"/>
              </a:spcAft>
            </a:pPr>
            <a:r>
              <a:rPr lang="de-CH" altLang="en-US" sz="4800" b="1" dirty="0" err="1">
                <a:solidFill>
                  <a:srgbClr val="F49B03"/>
                </a:solidFill>
                <a:latin typeface="Calibri"/>
              </a:rPr>
              <a:t>Tenir</a:t>
            </a:r>
            <a:r>
              <a:rPr lang="de-CH" altLang="en-US" sz="4800" b="1" dirty="0">
                <a:solidFill>
                  <a:srgbClr val="F49B03"/>
                </a:solidFill>
                <a:latin typeface="Calibri"/>
              </a:rPr>
              <a:t> </a:t>
            </a:r>
            <a:r>
              <a:rPr lang="de-CH" altLang="en-US" sz="4800" b="1" dirty="0" err="1">
                <a:solidFill>
                  <a:srgbClr val="F49B03"/>
                </a:solidFill>
                <a:latin typeface="Calibri"/>
              </a:rPr>
              <a:t>notre</a:t>
            </a:r>
            <a:r>
              <a:rPr lang="de-CH" altLang="en-US" sz="4800" b="1" dirty="0">
                <a:solidFill>
                  <a:srgbClr val="F49B03"/>
                </a:solidFill>
                <a:latin typeface="Calibri"/>
              </a:rPr>
              <a:t> </a:t>
            </a:r>
            <a:r>
              <a:rPr lang="de-CH" altLang="en-US" sz="4800" b="1" dirty="0" err="1">
                <a:solidFill>
                  <a:srgbClr val="F49B03"/>
                </a:solidFill>
                <a:latin typeface="Calibri"/>
              </a:rPr>
              <a:t>promesse</a:t>
            </a:r>
            <a:r>
              <a:rPr lang="de-CH" altLang="en-US" sz="4800" b="1" dirty="0">
                <a:solidFill>
                  <a:srgbClr val="F49B03"/>
                </a:solidFill>
                <a:latin typeface="Calibri"/>
              </a:rPr>
              <a:t> !</a:t>
            </a:r>
            <a:endParaRPr lang="de-CH" altLang="en-US" sz="3600" b="1" dirty="0">
              <a:solidFill>
                <a:srgbClr val="F49B03"/>
              </a:solidFill>
              <a:latin typeface="Calibri"/>
            </a:endParaRPr>
          </a:p>
          <a:p>
            <a:pPr algn="ctr" eaLnBrk="1" fontAlgn="base" hangingPunct="1">
              <a:lnSpc>
                <a:spcPct val="110000"/>
              </a:lnSpc>
              <a:spcBef>
                <a:spcPct val="0"/>
              </a:spcBef>
              <a:spcAft>
                <a:spcPct val="0"/>
              </a:spcAft>
            </a:pPr>
            <a:endParaRPr lang="de-CH" altLang="en-US" sz="3200" b="1" dirty="0">
              <a:solidFill>
                <a:srgbClr val="F79646"/>
              </a:solidFill>
              <a:latin typeface="Calibri"/>
            </a:endParaRPr>
          </a:p>
          <a:p>
            <a:pPr algn="ctr" eaLnBrk="1" fontAlgn="base" hangingPunct="1">
              <a:lnSpc>
                <a:spcPct val="110000"/>
              </a:lnSpc>
              <a:spcBef>
                <a:spcPct val="0"/>
              </a:spcBef>
              <a:spcAft>
                <a:spcPct val="0"/>
              </a:spcAft>
            </a:pPr>
            <a:endParaRPr lang="de-CH" altLang="en-US" sz="3200" b="1" dirty="0">
              <a:solidFill>
                <a:srgbClr val="F79646"/>
              </a:solidFill>
              <a:latin typeface="Calibri"/>
            </a:endParaRPr>
          </a:p>
          <a:p>
            <a:pPr algn="ctr" eaLnBrk="1" fontAlgn="base" hangingPunct="1">
              <a:lnSpc>
                <a:spcPct val="110000"/>
              </a:lnSpc>
              <a:spcBef>
                <a:spcPct val="0"/>
              </a:spcBef>
              <a:spcAft>
                <a:spcPct val="0"/>
              </a:spcAft>
            </a:pPr>
            <a:endParaRPr lang="de-CH" altLang="en-US" sz="3200" b="1" dirty="0">
              <a:solidFill>
                <a:srgbClr val="F79646"/>
              </a:solidFill>
              <a:latin typeface="Calibri"/>
            </a:endParaRPr>
          </a:p>
          <a:p>
            <a:pPr algn="ctr" eaLnBrk="1" fontAlgn="base" hangingPunct="1">
              <a:lnSpc>
                <a:spcPct val="110000"/>
              </a:lnSpc>
              <a:spcBef>
                <a:spcPct val="0"/>
              </a:spcBef>
              <a:spcAft>
                <a:spcPct val="0"/>
              </a:spcAft>
            </a:pPr>
            <a:endParaRPr lang="de-CH" altLang="en-US" sz="3200" b="1" dirty="0">
              <a:solidFill>
                <a:srgbClr val="F79646"/>
              </a:solidFill>
              <a:latin typeface="Calibri"/>
            </a:endParaRPr>
          </a:p>
          <a:p>
            <a:pPr algn="ctr" eaLnBrk="1" fontAlgn="base" hangingPunct="1">
              <a:lnSpc>
                <a:spcPct val="110000"/>
              </a:lnSpc>
              <a:spcBef>
                <a:spcPct val="0"/>
              </a:spcBef>
              <a:spcAft>
                <a:spcPct val="0"/>
              </a:spcAft>
            </a:pPr>
            <a:endParaRPr lang="de-CH" altLang="en-US" sz="3200" b="1" dirty="0">
              <a:solidFill>
                <a:srgbClr val="F79646"/>
              </a:solidFill>
              <a:latin typeface="Calibri"/>
            </a:endParaRPr>
          </a:p>
          <a:p>
            <a:pPr algn="ctr" eaLnBrk="1" fontAlgn="base" hangingPunct="1">
              <a:lnSpc>
                <a:spcPct val="110000"/>
              </a:lnSpc>
              <a:spcBef>
                <a:spcPct val="0"/>
              </a:spcBef>
              <a:spcAft>
                <a:spcPct val="0"/>
              </a:spcAft>
            </a:pPr>
            <a:endParaRPr lang="de-CH" altLang="en-US" sz="3200" b="1" dirty="0">
              <a:solidFill>
                <a:srgbClr val="F79646"/>
              </a:solidFill>
              <a:latin typeface="Calibri"/>
            </a:endParaRPr>
          </a:p>
          <a:p>
            <a:pPr algn="ctr" eaLnBrk="1" fontAlgn="base" hangingPunct="1">
              <a:lnSpc>
                <a:spcPct val="110000"/>
              </a:lnSpc>
              <a:spcBef>
                <a:spcPct val="0"/>
              </a:spcBef>
              <a:spcAft>
                <a:spcPct val="0"/>
              </a:spcAft>
            </a:pPr>
            <a:endParaRPr lang="de-CH" altLang="en-US" sz="3200" b="1" dirty="0">
              <a:solidFill>
                <a:srgbClr val="F79646"/>
              </a:solidFill>
              <a:latin typeface="Calibri"/>
            </a:endParaRPr>
          </a:p>
          <a:p>
            <a:pPr algn="ctr" eaLnBrk="1" fontAlgn="base" hangingPunct="1">
              <a:lnSpc>
                <a:spcPct val="110000"/>
              </a:lnSpc>
              <a:spcBef>
                <a:spcPct val="0"/>
              </a:spcBef>
              <a:spcAft>
                <a:spcPct val="0"/>
              </a:spcAft>
            </a:pPr>
            <a:endParaRPr lang="de-CH" altLang="en-US" sz="3200" b="1" dirty="0">
              <a:solidFill>
                <a:srgbClr val="F79646"/>
              </a:solidFill>
              <a:latin typeface="Calibri"/>
            </a:endParaRPr>
          </a:p>
          <a:p>
            <a:pPr algn="ctr" eaLnBrk="1" fontAlgn="base" hangingPunct="1">
              <a:lnSpc>
                <a:spcPct val="110000"/>
              </a:lnSpc>
              <a:spcBef>
                <a:spcPct val="0"/>
              </a:spcBef>
              <a:spcAft>
                <a:spcPct val="0"/>
              </a:spcAft>
            </a:pPr>
            <a:endParaRPr lang="de-CH" altLang="en-US" sz="3200" b="1" dirty="0">
              <a:solidFill>
                <a:srgbClr val="F49B03"/>
              </a:solidFill>
              <a:latin typeface="Calibri"/>
            </a:endParaRPr>
          </a:p>
          <a:p>
            <a:pPr algn="ctr" eaLnBrk="1" fontAlgn="base" hangingPunct="1">
              <a:lnSpc>
                <a:spcPct val="110000"/>
              </a:lnSpc>
              <a:spcBef>
                <a:spcPct val="0"/>
              </a:spcBef>
              <a:spcAft>
                <a:spcPct val="0"/>
              </a:spcAft>
            </a:pPr>
            <a:r>
              <a:rPr lang="de-CH" altLang="en-US" sz="3200" b="1" dirty="0">
                <a:solidFill>
                  <a:srgbClr val="F49B03"/>
                </a:solidFill>
                <a:latin typeface="Calibri"/>
              </a:rPr>
              <a:t>www.polioeradication.org</a:t>
            </a:r>
            <a:r>
              <a:rPr lang="de-CH" altLang="en-US" sz="3200" b="1" dirty="0">
                <a:solidFill>
                  <a:srgbClr val="F79646"/>
                </a:solidFill>
                <a:latin typeface="Calibri"/>
              </a:rPr>
              <a:t> </a:t>
            </a:r>
          </a:p>
          <a:p>
            <a:pPr algn="ctr" eaLnBrk="1" fontAlgn="base" hangingPunct="1">
              <a:lnSpc>
                <a:spcPct val="110000"/>
              </a:lnSpc>
              <a:spcBef>
                <a:spcPct val="0"/>
              </a:spcBef>
              <a:spcAft>
                <a:spcPct val="0"/>
              </a:spcAft>
            </a:pPr>
            <a:endParaRPr lang="de-CH" altLang="en-US" sz="3200" b="1" dirty="0">
              <a:solidFill>
                <a:srgbClr val="000066"/>
              </a:solidFill>
            </a:endParaRPr>
          </a:p>
          <a:p>
            <a:pPr algn="ctr" eaLnBrk="1" fontAlgn="base" hangingPunct="1">
              <a:lnSpc>
                <a:spcPct val="110000"/>
              </a:lnSpc>
              <a:spcBef>
                <a:spcPct val="0"/>
              </a:spcBef>
              <a:spcAft>
                <a:spcPct val="0"/>
              </a:spcAft>
            </a:pPr>
            <a:br>
              <a:rPr lang="de-CH" altLang="en-US" sz="2400" dirty="0">
                <a:solidFill>
                  <a:srgbClr val="000066"/>
                </a:solidFill>
              </a:rPr>
            </a:br>
            <a:br>
              <a:rPr lang="de-CH" altLang="en-US" sz="3600" b="1" dirty="0">
                <a:solidFill>
                  <a:srgbClr val="000066"/>
                </a:solidFill>
              </a:rPr>
            </a:br>
            <a:endParaRPr lang="de-CH" altLang="en-US" sz="2800" b="1" dirty="0">
              <a:solidFill>
                <a:srgbClr val="000066"/>
              </a:solidFill>
            </a:endParaRPr>
          </a:p>
        </p:txBody>
      </p:sp>
      <p:pic>
        <p:nvPicPr>
          <p:cNvPr id="3" name="Image 2" descr="Une image contenant personne, intérieur, petit, jeune&#10;&#10;Description générée automatiquement">
            <a:extLst>
              <a:ext uri="{FF2B5EF4-FFF2-40B4-BE49-F238E27FC236}">
                <a16:creationId xmlns:a16="http://schemas.microsoft.com/office/drawing/2014/main" id="{C71D49C9-1244-4E79-A6B7-7B5C8CA9661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8938" y="1357709"/>
            <a:ext cx="2638753" cy="4371815"/>
          </a:xfrm>
          <a:prstGeom prst="rect">
            <a:avLst/>
          </a:prstGeom>
        </p:spPr>
      </p:pic>
      <p:pic>
        <p:nvPicPr>
          <p:cNvPr id="5" name="Image 4">
            <a:extLst>
              <a:ext uri="{FF2B5EF4-FFF2-40B4-BE49-F238E27FC236}">
                <a16:creationId xmlns:a16="http://schemas.microsoft.com/office/drawing/2014/main" id="{D05022FC-8BEB-772B-6044-959EF0B020C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37903" y="0"/>
            <a:ext cx="2116636" cy="823136"/>
          </a:xfrm>
          <a:prstGeom prst="rect">
            <a:avLst/>
          </a:prstGeom>
        </p:spPr>
      </p:pic>
      <p:pic>
        <p:nvPicPr>
          <p:cNvPr id="6" name="Image 5">
            <a:extLst>
              <a:ext uri="{FF2B5EF4-FFF2-40B4-BE49-F238E27FC236}">
                <a16:creationId xmlns:a16="http://schemas.microsoft.com/office/drawing/2014/main" id="{175BE793-B550-BA9C-ABFD-0C59FFD55D3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06760" y="5317435"/>
            <a:ext cx="913062" cy="1160020"/>
          </a:xfrm>
          <a:prstGeom prst="rect">
            <a:avLst/>
          </a:prstGeom>
        </p:spPr>
      </p:pic>
    </p:spTree>
    <p:extLst>
      <p:ext uri="{BB962C8B-B14F-4D97-AF65-F5344CB8AC3E}">
        <p14:creationId xmlns:p14="http://schemas.microsoft.com/office/powerpoint/2010/main" val="21416347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10" descr="DSCN270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096000" y="2063084"/>
            <a:ext cx="4372159" cy="2783317"/>
          </a:xfrm>
          <a:prstGeom prst="rect">
            <a:avLst/>
          </a:prstGeom>
          <a:ln w="22225">
            <a:solidFill>
              <a:schemeClr val="tx1"/>
            </a:solidFill>
          </a:ln>
          <a:extLst>
            <a:ext uri="{909E8E84-426E-40DD-AFC4-6F175D3DCCD1}">
              <a14:hiddenFill xmlns:a14="http://schemas.microsoft.com/office/drawing/2010/main">
                <a:solidFill>
                  <a:srgbClr val="FFFFFF"/>
                </a:solidFill>
              </a14:hiddenFill>
            </a:ext>
          </a:extLst>
        </p:spPr>
      </p:pic>
      <p:sp>
        <p:nvSpPr>
          <p:cNvPr id="11" name="ZoneTexte 10">
            <a:extLst>
              <a:ext uri="{FF2B5EF4-FFF2-40B4-BE49-F238E27FC236}">
                <a16:creationId xmlns:a16="http://schemas.microsoft.com/office/drawing/2014/main" id="{FCD3C378-D734-4850-870D-7C163FD9022E}"/>
              </a:ext>
            </a:extLst>
          </p:cNvPr>
          <p:cNvSpPr txBox="1"/>
          <p:nvPr/>
        </p:nvSpPr>
        <p:spPr>
          <a:xfrm>
            <a:off x="2407614" y="1108978"/>
            <a:ext cx="7583358" cy="954107"/>
          </a:xfrm>
          <a:prstGeom prst="rect">
            <a:avLst/>
          </a:prstGeom>
          <a:noFill/>
        </p:spPr>
        <p:txBody>
          <a:bodyPr wrap="none" rtlCol="0">
            <a:spAutoFit/>
          </a:bodyPr>
          <a:lstStyle/>
          <a:p>
            <a:pPr algn="ctr">
              <a:spcBef>
                <a:spcPts val="1200"/>
              </a:spcBef>
            </a:pPr>
            <a:r>
              <a:rPr lang="fr-FR" sz="2800" b="1" dirty="0"/>
              <a:t>Aucun traitement, mais des vaccins très efficaces!</a:t>
            </a:r>
          </a:p>
          <a:p>
            <a:pPr algn="ctr"/>
            <a:endParaRPr lang="fr-FR" sz="2800" dirty="0"/>
          </a:p>
        </p:txBody>
      </p:sp>
      <p:sp>
        <p:nvSpPr>
          <p:cNvPr id="2" name="ZoneTexte 1">
            <a:extLst>
              <a:ext uri="{FF2B5EF4-FFF2-40B4-BE49-F238E27FC236}">
                <a16:creationId xmlns:a16="http://schemas.microsoft.com/office/drawing/2014/main" id="{2C597A94-519D-48A6-8C7D-544CD97CCE9F}"/>
              </a:ext>
            </a:extLst>
          </p:cNvPr>
          <p:cNvSpPr txBox="1"/>
          <p:nvPr/>
        </p:nvSpPr>
        <p:spPr>
          <a:xfrm>
            <a:off x="4429000" y="166241"/>
            <a:ext cx="3540585" cy="707886"/>
          </a:xfrm>
          <a:prstGeom prst="rect">
            <a:avLst/>
          </a:prstGeom>
          <a:noFill/>
        </p:spPr>
        <p:txBody>
          <a:bodyPr wrap="none" rtlCol="0">
            <a:spAutoFit/>
          </a:bodyPr>
          <a:lstStyle/>
          <a:p>
            <a:pPr algn="ctr"/>
            <a:r>
              <a:rPr lang="fr-FR" sz="4000" b="1" dirty="0">
                <a:solidFill>
                  <a:srgbClr val="FFC000"/>
                </a:solidFill>
              </a:rPr>
              <a:t>La Poliomyélite </a:t>
            </a:r>
          </a:p>
        </p:txBody>
      </p:sp>
      <p:sp>
        <p:nvSpPr>
          <p:cNvPr id="4" name="Rectangle 3">
            <a:extLst>
              <a:ext uri="{FF2B5EF4-FFF2-40B4-BE49-F238E27FC236}">
                <a16:creationId xmlns:a16="http://schemas.microsoft.com/office/drawing/2014/main" id="{90E1C81D-A78C-4EA9-A457-82878D1AFE9A}"/>
              </a:ext>
            </a:extLst>
          </p:cNvPr>
          <p:cNvSpPr/>
          <p:nvPr/>
        </p:nvSpPr>
        <p:spPr>
          <a:xfrm>
            <a:off x="9289255" y="54528"/>
            <a:ext cx="1369220" cy="6503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2" name="Espace réservé du numéro de diapositive 3">
            <a:extLst>
              <a:ext uri="{FF2B5EF4-FFF2-40B4-BE49-F238E27FC236}">
                <a16:creationId xmlns:a16="http://schemas.microsoft.com/office/drawing/2014/main" id="{01AE231F-F336-45B6-8BA4-E737299F750D}"/>
              </a:ext>
            </a:extLst>
          </p:cNvPr>
          <p:cNvSpPr txBox="1">
            <a:spLocks/>
          </p:cNvSpPr>
          <p:nvPr/>
        </p:nvSpPr>
        <p:spPr>
          <a:xfrm>
            <a:off x="3" y="6604000"/>
            <a:ext cx="2370667" cy="254000"/>
          </a:xfrm>
          <a:prstGeom prst="rect">
            <a:avLst/>
          </a:prstGeom>
        </p:spPr>
        <p:txBody>
          <a:bodyPr vert="horz" lIns="91440" tIns="45720" rIns="91440" bIns="45720" rtlCol="0" anchor="ctr"/>
          <a:lstStyle>
            <a:defPPr>
              <a:defRPr lang="en-US"/>
            </a:defPPr>
            <a:lvl1pPr algn="r" defTabSz="457200" fontAlgn="auto">
              <a:spcBef>
                <a:spcPts val="0"/>
              </a:spcBef>
              <a:spcAft>
                <a:spcPts val="0"/>
              </a:spcAft>
              <a:defRPr sz="1200">
                <a:solidFill>
                  <a:prstClr val="white"/>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3D5B703-056F-479E-8893-F9987D298CDC}" type="slidenum">
              <a:rPr lang="en-GB" smtClean="0"/>
              <a:pPr/>
              <a:t>3</a:t>
            </a:fld>
            <a:endParaRPr lang="en-GB"/>
          </a:p>
        </p:txBody>
      </p:sp>
      <p:sp>
        <p:nvSpPr>
          <p:cNvPr id="5" name="ZoneTexte 4">
            <a:extLst>
              <a:ext uri="{FF2B5EF4-FFF2-40B4-BE49-F238E27FC236}">
                <a16:creationId xmlns:a16="http://schemas.microsoft.com/office/drawing/2014/main" id="{E9EA6F54-20D2-4461-AB41-527212E3DE22}"/>
              </a:ext>
            </a:extLst>
          </p:cNvPr>
          <p:cNvSpPr txBox="1"/>
          <p:nvPr/>
        </p:nvSpPr>
        <p:spPr>
          <a:xfrm>
            <a:off x="7375605" y="5043566"/>
            <a:ext cx="2137125" cy="707886"/>
          </a:xfrm>
          <a:prstGeom prst="rect">
            <a:avLst/>
          </a:prstGeom>
          <a:noFill/>
        </p:spPr>
        <p:txBody>
          <a:bodyPr wrap="none" rtlCol="0">
            <a:spAutoFit/>
          </a:bodyPr>
          <a:lstStyle/>
          <a:p>
            <a:pPr algn="ctr"/>
            <a:r>
              <a:rPr lang="fr-FR" sz="2000" b="1" dirty="0"/>
              <a:t>Vaccin Polio Oral </a:t>
            </a:r>
          </a:p>
          <a:p>
            <a:pPr algn="ctr"/>
            <a:r>
              <a:rPr lang="fr-FR" sz="2000" b="1" dirty="0"/>
              <a:t>Albert Sabin, 1957</a:t>
            </a:r>
          </a:p>
        </p:txBody>
      </p:sp>
      <p:sp>
        <p:nvSpPr>
          <p:cNvPr id="17" name="ZoneTexte 16">
            <a:extLst>
              <a:ext uri="{FF2B5EF4-FFF2-40B4-BE49-F238E27FC236}">
                <a16:creationId xmlns:a16="http://schemas.microsoft.com/office/drawing/2014/main" id="{4C66F7A3-D35F-4545-A476-7226968D298E}"/>
              </a:ext>
            </a:extLst>
          </p:cNvPr>
          <p:cNvSpPr txBox="1"/>
          <p:nvPr/>
        </p:nvSpPr>
        <p:spPr>
          <a:xfrm>
            <a:off x="1870960" y="5096787"/>
            <a:ext cx="2353721" cy="707886"/>
          </a:xfrm>
          <a:prstGeom prst="rect">
            <a:avLst/>
          </a:prstGeom>
          <a:noFill/>
        </p:spPr>
        <p:txBody>
          <a:bodyPr wrap="none" rtlCol="0">
            <a:spAutoFit/>
          </a:bodyPr>
          <a:lstStyle/>
          <a:p>
            <a:pPr algn="ctr"/>
            <a:r>
              <a:rPr lang="fr-FR" sz="2000" b="1" dirty="0"/>
              <a:t>Vaccin Polio Inactivé</a:t>
            </a:r>
          </a:p>
          <a:p>
            <a:pPr algn="ctr"/>
            <a:r>
              <a:rPr lang="fr-FR" sz="2000" b="1" dirty="0"/>
              <a:t>Jonas </a:t>
            </a:r>
            <a:r>
              <a:rPr lang="fr-FR" sz="2000" b="1" dirty="0" err="1"/>
              <a:t>Salk</a:t>
            </a:r>
            <a:r>
              <a:rPr lang="fr-FR" sz="2000" b="1" dirty="0"/>
              <a:t>, 1955</a:t>
            </a:r>
          </a:p>
        </p:txBody>
      </p:sp>
      <p:pic>
        <p:nvPicPr>
          <p:cNvPr id="2050" name="Picture 2" descr="Afficher l’image source">
            <a:extLst>
              <a:ext uri="{FF2B5EF4-FFF2-40B4-BE49-F238E27FC236}">
                <a16:creationId xmlns:a16="http://schemas.microsoft.com/office/drawing/2014/main" id="{092DE7AA-AB25-41B2-BAD4-511686E911B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76275" y="2063084"/>
            <a:ext cx="4295515" cy="2861887"/>
          </a:xfrm>
          <a:prstGeom prst="rect">
            <a:avLst/>
          </a:prstGeom>
          <a:noFill/>
          <a:extLst>
            <a:ext uri="{909E8E84-426E-40DD-AFC4-6F175D3DCCD1}">
              <a14:hiddenFill xmlns:a14="http://schemas.microsoft.com/office/drawing/2010/main">
                <a:solidFill>
                  <a:srgbClr val="FFFFFF"/>
                </a:solidFill>
              </a14:hiddenFill>
            </a:ext>
          </a:extLst>
        </p:spPr>
      </p:pic>
      <p:pic>
        <p:nvPicPr>
          <p:cNvPr id="8" name="Image 7">
            <a:extLst>
              <a:ext uri="{FF2B5EF4-FFF2-40B4-BE49-F238E27FC236}">
                <a16:creationId xmlns:a16="http://schemas.microsoft.com/office/drawing/2014/main" id="{318F3D48-62B2-F0A0-6727-06912F5661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26253" y="5380238"/>
            <a:ext cx="951892" cy="1209352"/>
          </a:xfrm>
          <a:prstGeom prst="rect">
            <a:avLst/>
          </a:prstGeom>
        </p:spPr>
      </p:pic>
      <p:pic>
        <p:nvPicPr>
          <p:cNvPr id="9" name="Image 8">
            <a:extLst>
              <a:ext uri="{FF2B5EF4-FFF2-40B4-BE49-F238E27FC236}">
                <a16:creationId xmlns:a16="http://schemas.microsoft.com/office/drawing/2014/main" id="{2C98BE1B-8513-DF4D-963C-80A4DCC72F7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8660" y="0"/>
            <a:ext cx="2116636" cy="823136"/>
          </a:xfrm>
          <a:prstGeom prst="rect">
            <a:avLst/>
          </a:prstGeom>
        </p:spPr>
      </p:pic>
    </p:spTree>
    <p:extLst>
      <p:ext uri="{BB962C8B-B14F-4D97-AF65-F5344CB8AC3E}">
        <p14:creationId xmlns:p14="http://schemas.microsoft.com/office/powerpoint/2010/main" val="30495816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3" name="Picture 3" descr="ECYE3_1988.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63247" y="903890"/>
            <a:ext cx="9725774" cy="545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Espace réservé du numéro de diapositive 3">
            <a:extLst>
              <a:ext uri="{FF2B5EF4-FFF2-40B4-BE49-F238E27FC236}">
                <a16:creationId xmlns:a16="http://schemas.microsoft.com/office/drawing/2014/main" id="{3FB79519-0E02-482E-B9B5-3DCF934385B8}"/>
              </a:ext>
            </a:extLst>
          </p:cNvPr>
          <p:cNvSpPr txBox="1">
            <a:spLocks/>
          </p:cNvSpPr>
          <p:nvPr/>
        </p:nvSpPr>
        <p:spPr>
          <a:xfrm>
            <a:off x="3" y="6604000"/>
            <a:ext cx="2370667" cy="254000"/>
          </a:xfrm>
          <a:prstGeom prst="rect">
            <a:avLst/>
          </a:prstGeom>
        </p:spPr>
        <p:txBody>
          <a:bodyPr vert="horz" lIns="91440" tIns="45720" rIns="91440" bIns="45720" rtlCol="0" anchor="ctr"/>
          <a:lstStyle>
            <a:defPPr>
              <a:defRPr lang="en-US"/>
            </a:defPPr>
            <a:lvl1pPr algn="r" defTabSz="457200" fontAlgn="auto">
              <a:spcBef>
                <a:spcPts val="0"/>
              </a:spcBef>
              <a:spcAft>
                <a:spcPts val="0"/>
              </a:spcAft>
              <a:defRPr sz="1200">
                <a:solidFill>
                  <a:prstClr val="white"/>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3D5B703-056F-479E-8893-F9987D298CDC}" type="slidenum">
              <a:rPr lang="en-GB" smtClean="0"/>
              <a:pPr/>
              <a:t>4</a:t>
            </a:fld>
            <a:endParaRPr lang="en-GB"/>
          </a:p>
        </p:txBody>
      </p:sp>
      <p:sp>
        <p:nvSpPr>
          <p:cNvPr id="3" name="Speech Bubble: Oval 2">
            <a:extLst>
              <a:ext uri="{FF2B5EF4-FFF2-40B4-BE49-F238E27FC236}">
                <a16:creationId xmlns:a16="http://schemas.microsoft.com/office/drawing/2014/main" id="{32426DFD-A1B5-4C67-A7B8-4EE3ADDA1720}"/>
              </a:ext>
            </a:extLst>
          </p:cNvPr>
          <p:cNvSpPr/>
          <p:nvPr/>
        </p:nvSpPr>
        <p:spPr>
          <a:xfrm>
            <a:off x="3176409" y="4933368"/>
            <a:ext cx="5290898" cy="1326103"/>
          </a:xfrm>
          <a:prstGeom prst="wedgeEllipseCallout">
            <a:avLst>
              <a:gd name="adj1" fmla="val -27785"/>
              <a:gd name="adj2" fmla="val 42607"/>
            </a:avLst>
          </a:prstGeom>
          <a:gradFill>
            <a:gsLst>
              <a:gs pos="0">
                <a:srgbClr val="FF0000"/>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600"/>
              </a:spcBef>
            </a:pPr>
            <a:r>
              <a:rPr lang="en-GB" sz="3200" b="1" dirty="0">
                <a:solidFill>
                  <a:schemeClr val="tx1"/>
                </a:solidFill>
              </a:rPr>
              <a:t>350 000 </a:t>
            </a:r>
            <a:r>
              <a:rPr lang="en-GB" sz="3200" b="1" dirty="0" err="1">
                <a:solidFill>
                  <a:schemeClr val="tx1"/>
                </a:solidFill>
              </a:rPr>
              <a:t>cas</a:t>
            </a:r>
            <a:r>
              <a:rPr lang="en-GB" sz="3200" b="1" dirty="0">
                <a:solidFill>
                  <a:schemeClr val="tx1"/>
                </a:solidFill>
              </a:rPr>
              <a:t> par an dans 125 pays </a:t>
            </a:r>
            <a:endParaRPr lang="en-US" sz="2000" b="1" dirty="0">
              <a:solidFill>
                <a:schemeClr val="tx1"/>
              </a:solidFill>
            </a:endParaRPr>
          </a:p>
        </p:txBody>
      </p:sp>
      <p:sp>
        <p:nvSpPr>
          <p:cNvPr id="10242" name="Rectangle 2"/>
          <p:cNvSpPr>
            <a:spLocks noGrp="1" noChangeArrowheads="1"/>
          </p:cNvSpPr>
          <p:nvPr>
            <p:ph type="title" idx="4294967295"/>
          </p:nvPr>
        </p:nvSpPr>
        <p:spPr>
          <a:xfrm>
            <a:off x="-34033" y="756185"/>
            <a:ext cx="4809406" cy="791815"/>
          </a:xfrm>
          <a:prstGeom prst="rect">
            <a:avLst/>
          </a:prstGeom>
        </p:spPr>
        <p:txBody>
          <a:bodyPr/>
          <a:lstStyle/>
          <a:p>
            <a:pPr>
              <a:lnSpc>
                <a:spcPct val="125000"/>
              </a:lnSpc>
            </a:pPr>
            <a:r>
              <a:rPr lang="de-CH" b="1" dirty="0">
                <a:solidFill>
                  <a:srgbClr val="F49B03"/>
                </a:solidFill>
              </a:rPr>
              <a:t>1985</a:t>
            </a:r>
          </a:p>
        </p:txBody>
      </p:sp>
      <p:sp>
        <p:nvSpPr>
          <p:cNvPr id="2" name="Bulle narrative : ronde 1">
            <a:extLst>
              <a:ext uri="{FF2B5EF4-FFF2-40B4-BE49-F238E27FC236}">
                <a16:creationId xmlns:a16="http://schemas.microsoft.com/office/drawing/2014/main" id="{388C4697-B79F-47C9-95B8-69F816FAFCFE}"/>
              </a:ext>
            </a:extLst>
          </p:cNvPr>
          <p:cNvSpPr/>
          <p:nvPr/>
        </p:nvSpPr>
        <p:spPr>
          <a:xfrm>
            <a:off x="2690216" y="1152092"/>
            <a:ext cx="6263284" cy="3069020"/>
          </a:xfrm>
          <a:prstGeom prst="wedgeEllipseCallout">
            <a:avLst>
              <a:gd name="adj1" fmla="val -29619"/>
              <a:gd name="adj2" fmla="val 37521"/>
            </a:avLst>
          </a:prstGeom>
          <a:gradFill>
            <a:gsLst>
              <a:gs pos="0">
                <a:srgbClr val="FF0000"/>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3600" b="1" dirty="0">
                <a:ln w="0"/>
                <a:solidFill>
                  <a:schemeClr val="tx1"/>
                </a:solidFill>
                <a:effectLst>
                  <a:outerShdw blurRad="38100" dist="19050" dir="2700000" algn="tl" rotWithShape="0">
                    <a:schemeClr val="dk1">
                      <a:alpha val="40000"/>
                    </a:schemeClr>
                  </a:outerShdw>
                </a:effectLst>
              </a:rPr>
              <a:t>1 enfant paralysé</a:t>
            </a:r>
          </a:p>
          <a:p>
            <a:pPr algn="ctr"/>
            <a:r>
              <a:rPr lang="fr-FR" sz="3600" dirty="0">
                <a:ln w="0"/>
                <a:solidFill>
                  <a:schemeClr val="tx1"/>
                </a:solidFill>
                <a:effectLst>
                  <a:outerShdw blurRad="38100" dist="19050" dir="2700000" algn="tl" rotWithShape="0">
                    <a:schemeClr val="dk1">
                      <a:alpha val="40000"/>
                    </a:schemeClr>
                  </a:outerShdw>
                </a:effectLst>
              </a:rPr>
              <a:t>toutes les 2 minutes</a:t>
            </a:r>
          </a:p>
        </p:txBody>
      </p:sp>
      <p:pic>
        <p:nvPicPr>
          <p:cNvPr id="5" name="Image 4">
            <a:extLst>
              <a:ext uri="{FF2B5EF4-FFF2-40B4-BE49-F238E27FC236}">
                <a16:creationId xmlns:a16="http://schemas.microsoft.com/office/drawing/2014/main" id="{C8DA745A-CF2B-FD92-74D0-A3924072FB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4414" y="5316277"/>
            <a:ext cx="980101" cy="1245191"/>
          </a:xfrm>
          <a:prstGeom prst="rect">
            <a:avLst/>
          </a:prstGeom>
        </p:spPr>
      </p:pic>
      <p:pic>
        <p:nvPicPr>
          <p:cNvPr id="9" name="Image 8">
            <a:extLst>
              <a:ext uri="{FF2B5EF4-FFF2-40B4-BE49-F238E27FC236}">
                <a16:creationId xmlns:a16="http://schemas.microsoft.com/office/drawing/2014/main" id="{142F8EBD-1AF3-B453-D554-CF38C1B1F31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48536" y="42532"/>
            <a:ext cx="2116636" cy="823136"/>
          </a:xfrm>
          <a:prstGeom prst="rect">
            <a:avLst/>
          </a:prstGeom>
        </p:spPr>
      </p:pic>
    </p:spTree>
    <p:extLst>
      <p:ext uri="{BB962C8B-B14F-4D97-AF65-F5344CB8AC3E}">
        <p14:creationId xmlns:p14="http://schemas.microsoft.com/office/powerpoint/2010/main" val="60117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7">
            <a:extLst>
              <a:ext uri="{FF2B5EF4-FFF2-40B4-BE49-F238E27FC236}">
                <a16:creationId xmlns:a16="http://schemas.microsoft.com/office/drawing/2014/main" id="{AF7080F7-9EF3-43BF-A0C4-5A21808218EA}"/>
              </a:ext>
            </a:extLst>
          </p:cNvPr>
          <p:cNvGrpSpPr/>
          <p:nvPr/>
        </p:nvGrpSpPr>
        <p:grpSpPr>
          <a:xfrm>
            <a:off x="249282" y="3315516"/>
            <a:ext cx="3511967" cy="3233098"/>
            <a:chOff x="308810" y="3411539"/>
            <a:chExt cx="3511967" cy="3233098"/>
          </a:xfrm>
        </p:grpSpPr>
        <p:pic>
          <p:nvPicPr>
            <p:cNvPr id="37" name="Picture 5" descr="cambodia">
              <a:extLst>
                <a:ext uri="{FF2B5EF4-FFF2-40B4-BE49-F238E27FC236}">
                  <a16:creationId xmlns:a16="http://schemas.microsoft.com/office/drawing/2014/main" id="{A008D5AA-E881-433F-83E9-C1C4330E75B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r="11589" b="7677"/>
            <a:stretch>
              <a:fillRect/>
            </a:stretch>
          </p:blipFill>
          <p:spPr bwMode="auto">
            <a:xfrm>
              <a:off x="460830" y="3452662"/>
              <a:ext cx="3057214" cy="319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8" name="Group 9">
              <a:extLst>
                <a:ext uri="{FF2B5EF4-FFF2-40B4-BE49-F238E27FC236}">
                  <a16:creationId xmlns:a16="http://schemas.microsoft.com/office/drawing/2014/main" id="{FD1B064A-B6BD-47E3-A594-F7A169917A3D}"/>
                </a:ext>
              </a:extLst>
            </p:cNvPr>
            <p:cNvGrpSpPr>
              <a:grpSpLocks/>
            </p:cNvGrpSpPr>
            <p:nvPr/>
          </p:nvGrpSpPr>
          <p:grpSpPr bwMode="auto">
            <a:xfrm>
              <a:off x="308810" y="3411539"/>
              <a:ext cx="3511967" cy="1049339"/>
              <a:chOff x="-418" y="2134"/>
              <a:chExt cx="2297" cy="661"/>
            </a:xfrm>
          </p:grpSpPr>
          <p:sp>
            <p:nvSpPr>
              <p:cNvPr id="40" name="Text Box 10">
                <a:extLst>
                  <a:ext uri="{FF2B5EF4-FFF2-40B4-BE49-F238E27FC236}">
                    <a16:creationId xmlns:a16="http://schemas.microsoft.com/office/drawing/2014/main" id="{6EF40447-8611-4EB2-8BA9-C265FE1D400A}"/>
                  </a:ext>
                </a:extLst>
              </p:cNvPr>
              <p:cNvSpPr txBox="1">
                <a:spLocks noChangeArrowheads="1"/>
              </p:cNvSpPr>
              <p:nvPr/>
            </p:nvSpPr>
            <p:spPr bwMode="auto">
              <a:xfrm>
                <a:off x="1758" y="2504"/>
                <a:ext cx="121" cy="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endParaRPr lang="fr-CH" altLang="en-US" sz="2400" dirty="0">
                  <a:solidFill>
                    <a:prstClr val="black"/>
                  </a:solidFill>
                  <a:latin typeface="Arial (W1)" charset="0"/>
                </a:endParaRPr>
              </a:p>
            </p:txBody>
          </p:sp>
          <p:sp>
            <p:nvSpPr>
              <p:cNvPr id="41" name="Text Box 11">
                <a:extLst>
                  <a:ext uri="{FF2B5EF4-FFF2-40B4-BE49-F238E27FC236}">
                    <a16:creationId xmlns:a16="http://schemas.microsoft.com/office/drawing/2014/main" id="{7B3FA10C-48EE-46C1-A685-7AC676D1C493}"/>
                  </a:ext>
                </a:extLst>
              </p:cNvPr>
              <p:cNvSpPr txBox="1">
                <a:spLocks noChangeArrowheads="1"/>
              </p:cNvSpPr>
              <p:nvPr/>
            </p:nvSpPr>
            <p:spPr bwMode="auto">
              <a:xfrm>
                <a:off x="-418" y="2134"/>
                <a:ext cx="2236" cy="23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fr-CH" altLang="en-US" b="1" dirty="0">
                    <a:solidFill>
                      <a:schemeClr val="bg1"/>
                    </a:solidFill>
                  </a:rPr>
                  <a:t>Pacifique Occidental-1997 </a:t>
                </a:r>
                <a:endParaRPr lang="fr-CH" altLang="en-US" sz="2000" b="1" dirty="0">
                  <a:solidFill>
                    <a:schemeClr val="bg1"/>
                  </a:solidFill>
                </a:endParaRPr>
              </a:p>
            </p:txBody>
          </p:sp>
        </p:grpSp>
        <p:sp>
          <p:nvSpPr>
            <p:cNvPr id="39" name="TextBox 1">
              <a:extLst>
                <a:ext uri="{FF2B5EF4-FFF2-40B4-BE49-F238E27FC236}">
                  <a16:creationId xmlns:a16="http://schemas.microsoft.com/office/drawing/2014/main" id="{185FB1EA-C803-4F75-9264-EA2204896763}"/>
                </a:ext>
              </a:extLst>
            </p:cNvPr>
            <p:cNvSpPr txBox="1"/>
            <p:nvPr/>
          </p:nvSpPr>
          <p:spPr>
            <a:xfrm>
              <a:off x="906888" y="5996228"/>
              <a:ext cx="316946" cy="646331"/>
            </a:xfrm>
            <a:prstGeom prst="rect">
              <a:avLst/>
            </a:prstGeom>
            <a:noFill/>
          </p:spPr>
          <p:txBody>
            <a:bodyPr wrap="none" rtlCol="0">
              <a:spAutoFit/>
            </a:bodyPr>
            <a:lstStyle/>
            <a:p>
              <a:pPr algn="ctr" fontAlgn="base">
                <a:spcBef>
                  <a:spcPct val="0"/>
                </a:spcBef>
                <a:spcAft>
                  <a:spcPct val="0"/>
                </a:spcAft>
              </a:pPr>
              <a:endParaRPr lang="fr-CH" altLang="en-US" dirty="0">
                <a:solidFill>
                  <a:schemeClr val="bg1"/>
                </a:solidFill>
              </a:endParaRPr>
            </a:p>
            <a:p>
              <a:endParaRPr lang="fr-CH" dirty="0"/>
            </a:p>
          </p:txBody>
        </p:sp>
      </p:grpSp>
      <p:sp>
        <p:nvSpPr>
          <p:cNvPr id="37899" name="Rectangle 2"/>
          <p:cNvSpPr>
            <a:spLocks noGrp="1" noChangeArrowheads="1"/>
          </p:cNvSpPr>
          <p:nvPr>
            <p:ph type="title"/>
          </p:nvPr>
        </p:nvSpPr>
        <p:spPr>
          <a:xfrm>
            <a:off x="17013" y="193116"/>
            <a:ext cx="12192000" cy="775234"/>
          </a:xfrm>
          <a:solidFill>
            <a:schemeClr val="bg1"/>
          </a:solidFill>
        </p:spPr>
        <p:txBody>
          <a:bodyPr/>
          <a:lstStyle/>
          <a:p>
            <a:r>
              <a:rPr lang="de-CH" altLang="en-US" sz="3600" b="1" dirty="0">
                <a:solidFill>
                  <a:srgbClr val="F49B03"/>
                </a:solidFill>
              </a:rPr>
              <a:t>Des </a:t>
            </a:r>
            <a:r>
              <a:rPr lang="de-CH" altLang="en-US" sz="3600" b="1" dirty="0" err="1">
                <a:solidFill>
                  <a:srgbClr val="F49B03"/>
                </a:solidFill>
              </a:rPr>
              <a:t>Progrès</a:t>
            </a:r>
            <a:r>
              <a:rPr lang="de-CH" altLang="en-US" sz="3600" b="1" dirty="0">
                <a:solidFill>
                  <a:srgbClr val="F49B03"/>
                </a:solidFill>
              </a:rPr>
              <a:t> </a:t>
            </a:r>
            <a:r>
              <a:rPr lang="de-CH" altLang="en-US" sz="3600" b="1" dirty="0" err="1">
                <a:solidFill>
                  <a:srgbClr val="F49B03"/>
                </a:solidFill>
              </a:rPr>
              <a:t>Considérables</a:t>
            </a:r>
            <a:r>
              <a:rPr lang="de-CH" altLang="en-US" sz="3600" b="1" dirty="0">
                <a:solidFill>
                  <a:srgbClr val="F49B03"/>
                </a:solidFill>
              </a:rPr>
              <a:t> </a:t>
            </a:r>
            <a:br>
              <a:rPr lang="de-CH" altLang="en-US" sz="3600" b="1" dirty="0">
                <a:solidFill>
                  <a:srgbClr val="F49B03"/>
                </a:solidFill>
              </a:rPr>
            </a:br>
            <a:endParaRPr lang="de-CH" altLang="en-US" sz="3600" b="1" dirty="0">
              <a:solidFill>
                <a:srgbClr val="F49B03"/>
              </a:solidFill>
            </a:endParaRPr>
          </a:p>
        </p:txBody>
      </p:sp>
      <p:pic>
        <p:nvPicPr>
          <p:cNvPr id="37896" name="Picture 2" descr="Rukshar_photo"/>
          <p:cNvPicPr>
            <a:picLocks noChangeAspect="1" noChangeArrowheads="1"/>
          </p:cNvPicPr>
          <p:nvPr/>
        </p:nvPicPr>
        <p:blipFill>
          <a:blip r:embed="rId4" cstate="email">
            <a:lum contrast="30000"/>
            <a:extLst>
              <a:ext uri="{28A0092B-C50C-407E-A947-70E740481C1C}">
                <a14:useLocalDpi xmlns:a14="http://schemas.microsoft.com/office/drawing/2010/main"/>
              </a:ext>
            </a:extLst>
          </a:blip>
          <a:srcRect/>
          <a:stretch>
            <a:fillRect/>
          </a:stretch>
        </p:blipFill>
        <p:spPr bwMode="auto">
          <a:xfrm>
            <a:off x="8725082" y="3436937"/>
            <a:ext cx="3211512" cy="314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7" name="Text Box 12"/>
          <p:cNvSpPr txBox="1">
            <a:spLocks noChangeArrowheads="1"/>
          </p:cNvSpPr>
          <p:nvPr/>
        </p:nvSpPr>
        <p:spPr bwMode="auto">
          <a:xfrm>
            <a:off x="8591395" y="3415553"/>
            <a:ext cx="3299323" cy="76944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GB" altLang="en-US" sz="2000" b="1" dirty="0" err="1">
                <a:solidFill>
                  <a:schemeClr val="bg1"/>
                </a:solidFill>
              </a:rPr>
              <a:t>Asie</a:t>
            </a:r>
            <a:r>
              <a:rPr lang="en-GB" altLang="en-US" sz="2000" b="1" dirty="0">
                <a:solidFill>
                  <a:schemeClr val="bg1"/>
                </a:solidFill>
              </a:rPr>
              <a:t> du Sud Est -2011 </a:t>
            </a:r>
          </a:p>
          <a:p>
            <a:pPr algn="r" eaLnBrk="1" fontAlgn="base" hangingPunct="1">
              <a:spcBef>
                <a:spcPct val="0"/>
              </a:spcBef>
              <a:spcAft>
                <a:spcPct val="0"/>
              </a:spcAft>
            </a:pPr>
            <a:endParaRPr lang="fr-CH" altLang="en-US" sz="2400" dirty="0">
              <a:solidFill>
                <a:prstClr val="white"/>
              </a:solidFill>
            </a:endParaRPr>
          </a:p>
        </p:txBody>
      </p:sp>
      <p:pic>
        <p:nvPicPr>
          <p:cNvPr id="18" name="Picture 17">
            <a:extLst>
              <a:ext uri="{FF2B5EF4-FFF2-40B4-BE49-F238E27FC236}">
                <a16:creationId xmlns:a16="http://schemas.microsoft.com/office/drawing/2014/main" id="{9A82DD3E-3F2B-4298-A28E-1F450658DCD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316739" y="1343156"/>
            <a:ext cx="3627909" cy="4405715"/>
          </a:xfrm>
          <a:prstGeom prst="rect">
            <a:avLst/>
          </a:prstGeom>
        </p:spPr>
      </p:pic>
      <p:sp>
        <p:nvSpPr>
          <p:cNvPr id="19" name="Text Box 7">
            <a:extLst>
              <a:ext uri="{FF2B5EF4-FFF2-40B4-BE49-F238E27FC236}">
                <a16:creationId xmlns:a16="http://schemas.microsoft.com/office/drawing/2014/main" id="{BEAD73BE-DDE5-4338-9FE2-2D92070F7397}"/>
              </a:ext>
            </a:extLst>
          </p:cNvPr>
          <p:cNvSpPr txBox="1">
            <a:spLocks noChangeArrowheads="1"/>
          </p:cNvSpPr>
          <p:nvPr/>
        </p:nvSpPr>
        <p:spPr bwMode="auto">
          <a:xfrm>
            <a:off x="4510432" y="5737232"/>
            <a:ext cx="3205162" cy="46166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fr-CH" altLang="en-US" sz="2400" b="1" dirty="0"/>
              <a:t>Afrique  2016</a:t>
            </a:r>
          </a:p>
        </p:txBody>
      </p:sp>
      <p:sp>
        <p:nvSpPr>
          <p:cNvPr id="23" name="TextBox 22">
            <a:extLst>
              <a:ext uri="{FF2B5EF4-FFF2-40B4-BE49-F238E27FC236}">
                <a16:creationId xmlns:a16="http://schemas.microsoft.com/office/drawing/2014/main" id="{714F262B-5F33-425D-B85C-5EFB4A3D0C90}"/>
              </a:ext>
            </a:extLst>
          </p:cNvPr>
          <p:cNvSpPr txBox="1"/>
          <p:nvPr/>
        </p:nvSpPr>
        <p:spPr>
          <a:xfrm>
            <a:off x="9046952" y="6122107"/>
            <a:ext cx="2701317" cy="400110"/>
          </a:xfrm>
          <a:prstGeom prst="rect">
            <a:avLst/>
          </a:prstGeom>
          <a:noFill/>
        </p:spPr>
        <p:txBody>
          <a:bodyPr wrap="none" rtlCol="0">
            <a:spAutoFit/>
          </a:bodyPr>
          <a:lstStyle/>
          <a:p>
            <a:r>
              <a:rPr lang="en-GB" sz="2000" b="1" dirty="0" err="1">
                <a:solidFill>
                  <a:schemeClr val="bg1"/>
                </a:solidFill>
              </a:rPr>
              <a:t>Rukhsar</a:t>
            </a:r>
            <a:r>
              <a:rPr lang="en-GB" sz="2000" b="1" dirty="0">
                <a:solidFill>
                  <a:schemeClr val="bg1"/>
                </a:solidFill>
              </a:rPr>
              <a:t> Khatoon (</a:t>
            </a:r>
            <a:r>
              <a:rPr lang="en-GB" sz="2000" b="1" dirty="0" err="1">
                <a:solidFill>
                  <a:schemeClr val="bg1"/>
                </a:solidFill>
              </a:rPr>
              <a:t>Inde</a:t>
            </a:r>
            <a:r>
              <a:rPr lang="en-GB" sz="2000" b="1" dirty="0">
                <a:solidFill>
                  <a:schemeClr val="bg1"/>
                </a:solidFill>
              </a:rPr>
              <a:t>)</a:t>
            </a:r>
            <a:endParaRPr lang="en-US" sz="2000" b="1" dirty="0">
              <a:solidFill>
                <a:schemeClr val="bg1"/>
              </a:solidFill>
            </a:endParaRPr>
          </a:p>
        </p:txBody>
      </p:sp>
      <p:sp>
        <p:nvSpPr>
          <p:cNvPr id="24" name="TextBox 23">
            <a:extLst>
              <a:ext uri="{FF2B5EF4-FFF2-40B4-BE49-F238E27FC236}">
                <a16:creationId xmlns:a16="http://schemas.microsoft.com/office/drawing/2014/main" id="{669147AE-23AE-457B-B1E9-C1B3FF3663D1}"/>
              </a:ext>
            </a:extLst>
          </p:cNvPr>
          <p:cNvSpPr txBox="1"/>
          <p:nvPr/>
        </p:nvSpPr>
        <p:spPr>
          <a:xfrm>
            <a:off x="4839155" y="6122191"/>
            <a:ext cx="2497800" cy="400110"/>
          </a:xfrm>
          <a:prstGeom prst="rect">
            <a:avLst/>
          </a:prstGeom>
          <a:noFill/>
        </p:spPr>
        <p:txBody>
          <a:bodyPr wrap="none" rtlCol="0">
            <a:spAutoFit/>
          </a:bodyPr>
          <a:lstStyle/>
          <a:p>
            <a:r>
              <a:rPr lang="en-GB" sz="2000" b="1" dirty="0" err="1"/>
              <a:t>Ya</a:t>
            </a:r>
            <a:r>
              <a:rPr lang="en-GB" sz="2000" b="1" dirty="0"/>
              <a:t> </a:t>
            </a:r>
            <a:r>
              <a:rPr lang="en-GB" sz="2000" b="1" dirty="0" err="1"/>
              <a:t>Fanna</a:t>
            </a:r>
            <a:r>
              <a:rPr lang="en-GB" sz="2000" b="1" dirty="0"/>
              <a:t> Ali (</a:t>
            </a:r>
            <a:r>
              <a:rPr lang="en-GB" sz="2000" b="1" dirty="0" err="1"/>
              <a:t>Nigéria</a:t>
            </a:r>
            <a:r>
              <a:rPr lang="en-GB" sz="2000" b="1" dirty="0"/>
              <a:t>) </a:t>
            </a:r>
            <a:endParaRPr lang="en-US" sz="2000" b="1" dirty="0"/>
          </a:p>
        </p:txBody>
      </p:sp>
      <p:grpSp>
        <p:nvGrpSpPr>
          <p:cNvPr id="7" name="Group 6">
            <a:extLst>
              <a:ext uri="{FF2B5EF4-FFF2-40B4-BE49-F238E27FC236}">
                <a16:creationId xmlns:a16="http://schemas.microsoft.com/office/drawing/2014/main" id="{92E94113-5798-40CE-84C5-8A1EBF3C1A9E}"/>
              </a:ext>
            </a:extLst>
          </p:cNvPr>
          <p:cNvGrpSpPr/>
          <p:nvPr/>
        </p:nvGrpSpPr>
        <p:grpSpPr>
          <a:xfrm>
            <a:off x="408209" y="137365"/>
            <a:ext cx="3081338" cy="3189288"/>
            <a:chOff x="423680" y="211930"/>
            <a:chExt cx="3081338" cy="3189288"/>
          </a:xfrm>
        </p:grpSpPr>
        <p:pic>
          <p:nvPicPr>
            <p:cNvPr id="37890" name="Picture 3" descr="peru"/>
            <p:cNvPicPr>
              <a:picLocks noChangeAspect="1" noChangeArrowheads="1"/>
            </p:cNvPicPr>
            <p:nvPr/>
          </p:nvPicPr>
          <p:blipFill>
            <a:blip r:embed="rId6" cstate="email">
              <a:extLst>
                <a:ext uri="{28A0092B-C50C-407E-A947-70E740481C1C}">
                  <a14:useLocalDpi xmlns:a14="http://schemas.microsoft.com/office/drawing/2010/main"/>
                </a:ext>
              </a:extLst>
            </a:blip>
            <a:srcRect l="4259" r="21515" b="25389"/>
            <a:stretch>
              <a:fillRect/>
            </a:stretch>
          </p:blipFill>
          <p:spPr bwMode="auto">
            <a:xfrm>
              <a:off x="423680" y="211930"/>
              <a:ext cx="3081338" cy="318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7893" name="Group 6"/>
            <p:cNvGrpSpPr>
              <a:grpSpLocks/>
            </p:cNvGrpSpPr>
            <p:nvPr/>
          </p:nvGrpSpPr>
          <p:grpSpPr bwMode="auto">
            <a:xfrm>
              <a:off x="601482" y="262020"/>
              <a:ext cx="2725133" cy="1155700"/>
              <a:chOff x="-209" y="379"/>
              <a:chExt cx="2362" cy="728"/>
            </a:xfrm>
          </p:grpSpPr>
          <p:sp>
            <p:nvSpPr>
              <p:cNvPr id="37904" name="Text Box 7"/>
              <p:cNvSpPr txBox="1">
                <a:spLocks noChangeArrowheads="1"/>
              </p:cNvSpPr>
              <p:nvPr/>
            </p:nvSpPr>
            <p:spPr bwMode="auto">
              <a:xfrm>
                <a:off x="-209" y="379"/>
                <a:ext cx="2362" cy="29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r>
                  <a:rPr lang="fr-CH" altLang="en-US" sz="2400" dirty="0">
                    <a:solidFill>
                      <a:prstClr val="white"/>
                    </a:solidFill>
                  </a:rPr>
                  <a:t>Amériques- 1991 </a:t>
                </a:r>
              </a:p>
            </p:txBody>
          </p:sp>
          <p:sp>
            <p:nvSpPr>
              <p:cNvPr id="37905" name="Text Box 8"/>
              <p:cNvSpPr txBox="1">
                <a:spLocks noChangeArrowheads="1"/>
              </p:cNvSpPr>
              <p:nvPr/>
            </p:nvSpPr>
            <p:spPr bwMode="auto">
              <a:xfrm>
                <a:off x="1774" y="816"/>
                <a:ext cx="160" cy="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endParaRPr lang="fr-CH" altLang="en-US" sz="2400" dirty="0">
                  <a:solidFill>
                    <a:prstClr val="black"/>
                  </a:solidFill>
                  <a:latin typeface="Arial (W1)" charset="0"/>
                </a:endParaRPr>
              </a:p>
            </p:txBody>
          </p:sp>
        </p:grpSp>
      </p:grpSp>
      <p:grpSp>
        <p:nvGrpSpPr>
          <p:cNvPr id="9" name="Group 8">
            <a:extLst>
              <a:ext uri="{FF2B5EF4-FFF2-40B4-BE49-F238E27FC236}">
                <a16:creationId xmlns:a16="http://schemas.microsoft.com/office/drawing/2014/main" id="{EC270CB2-62F3-4E16-AA21-F99AED011BE7}"/>
              </a:ext>
            </a:extLst>
          </p:cNvPr>
          <p:cNvGrpSpPr/>
          <p:nvPr/>
        </p:nvGrpSpPr>
        <p:grpSpPr>
          <a:xfrm>
            <a:off x="8731432" y="125066"/>
            <a:ext cx="3205162" cy="3240087"/>
            <a:chOff x="8702236" y="72247"/>
            <a:chExt cx="3205162" cy="3240087"/>
          </a:xfrm>
        </p:grpSpPr>
        <p:pic>
          <p:nvPicPr>
            <p:cNvPr id="37891" name="Picture 4" descr="eurolastcase"/>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702236" y="72247"/>
              <a:ext cx="3205162" cy="3240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5" name="Text Box 12"/>
            <p:cNvSpPr txBox="1">
              <a:spLocks noChangeArrowheads="1"/>
            </p:cNvSpPr>
            <p:nvPr/>
          </p:nvSpPr>
          <p:spPr bwMode="auto">
            <a:xfrm>
              <a:off x="9145430" y="2432426"/>
              <a:ext cx="2241577" cy="76944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fr-CH" altLang="en-US" sz="2000" b="1" dirty="0">
                  <a:solidFill>
                    <a:schemeClr val="bg1"/>
                  </a:solidFill>
                </a:rPr>
                <a:t>Europe 1998</a:t>
              </a:r>
            </a:p>
            <a:p>
              <a:pPr algn="ctr" eaLnBrk="1" fontAlgn="base" hangingPunct="1">
                <a:spcBef>
                  <a:spcPct val="0"/>
                </a:spcBef>
                <a:spcAft>
                  <a:spcPct val="0"/>
                </a:spcAft>
              </a:pPr>
              <a:endParaRPr lang="en-US" altLang="en-US" sz="2400" dirty="0">
                <a:solidFill>
                  <a:schemeClr val="bg1"/>
                </a:solidFill>
              </a:endParaRPr>
            </a:p>
          </p:txBody>
        </p:sp>
        <p:sp>
          <p:nvSpPr>
            <p:cNvPr id="5" name="TextBox 4">
              <a:extLst>
                <a:ext uri="{FF2B5EF4-FFF2-40B4-BE49-F238E27FC236}">
                  <a16:creationId xmlns:a16="http://schemas.microsoft.com/office/drawing/2014/main" id="{5E1D80C7-7CDD-4EF9-9604-907BBDF78F7B}"/>
                </a:ext>
              </a:extLst>
            </p:cNvPr>
            <p:cNvSpPr txBox="1"/>
            <p:nvPr/>
          </p:nvSpPr>
          <p:spPr>
            <a:xfrm>
              <a:off x="11328417" y="2766363"/>
              <a:ext cx="184730" cy="338554"/>
            </a:xfrm>
            <a:prstGeom prst="rect">
              <a:avLst/>
            </a:prstGeom>
            <a:noFill/>
          </p:spPr>
          <p:txBody>
            <a:bodyPr wrap="none" rtlCol="0">
              <a:spAutoFit/>
            </a:bodyPr>
            <a:lstStyle/>
            <a:p>
              <a:pPr algn="ctr" fontAlgn="base">
                <a:spcBef>
                  <a:spcPct val="0"/>
                </a:spcBef>
                <a:spcAft>
                  <a:spcPct val="0"/>
                </a:spcAft>
              </a:pPr>
              <a:endParaRPr lang="en-GB" altLang="en-US" sz="1600" dirty="0">
                <a:solidFill>
                  <a:prstClr val="white"/>
                </a:solidFill>
              </a:endParaRPr>
            </a:p>
          </p:txBody>
        </p:sp>
      </p:grpSp>
      <p:sp>
        <p:nvSpPr>
          <p:cNvPr id="3" name="TextBox 2">
            <a:extLst>
              <a:ext uri="{FF2B5EF4-FFF2-40B4-BE49-F238E27FC236}">
                <a16:creationId xmlns:a16="http://schemas.microsoft.com/office/drawing/2014/main" id="{1A0B50A5-C97D-427C-B6DD-FCE18047B532}"/>
              </a:ext>
            </a:extLst>
          </p:cNvPr>
          <p:cNvSpPr txBox="1"/>
          <p:nvPr/>
        </p:nvSpPr>
        <p:spPr>
          <a:xfrm>
            <a:off x="453794" y="2913337"/>
            <a:ext cx="3089757" cy="400110"/>
          </a:xfrm>
          <a:prstGeom prst="rect">
            <a:avLst/>
          </a:prstGeom>
          <a:noFill/>
        </p:spPr>
        <p:txBody>
          <a:bodyPr wrap="none" rtlCol="0">
            <a:spAutoFit/>
          </a:bodyPr>
          <a:lstStyle/>
          <a:p>
            <a:r>
              <a:rPr lang="en-GB" sz="2000" b="1" dirty="0"/>
              <a:t>Luis Fermin </a:t>
            </a:r>
            <a:r>
              <a:rPr lang="en-GB" sz="2000" b="1" dirty="0" err="1"/>
              <a:t>Tenoria</a:t>
            </a:r>
            <a:r>
              <a:rPr lang="en-GB" sz="2000" b="1" dirty="0"/>
              <a:t> (</a:t>
            </a:r>
            <a:r>
              <a:rPr lang="en-GB" sz="2000" b="1" dirty="0" err="1"/>
              <a:t>Pérou</a:t>
            </a:r>
            <a:r>
              <a:rPr lang="en-GB" sz="2000" b="1" dirty="0"/>
              <a:t>)</a:t>
            </a:r>
            <a:endParaRPr lang="en-US" sz="2000" b="1" dirty="0"/>
          </a:p>
        </p:txBody>
      </p:sp>
      <p:sp>
        <p:nvSpPr>
          <p:cNvPr id="21" name="TextBox 20">
            <a:extLst>
              <a:ext uri="{FF2B5EF4-FFF2-40B4-BE49-F238E27FC236}">
                <a16:creationId xmlns:a16="http://schemas.microsoft.com/office/drawing/2014/main" id="{887FFB20-6E38-46CB-B417-647D1181458D}"/>
              </a:ext>
            </a:extLst>
          </p:cNvPr>
          <p:cNvSpPr txBox="1"/>
          <p:nvPr/>
        </p:nvSpPr>
        <p:spPr>
          <a:xfrm>
            <a:off x="586011" y="6162515"/>
            <a:ext cx="3026470" cy="400110"/>
          </a:xfrm>
          <a:prstGeom prst="rect">
            <a:avLst/>
          </a:prstGeom>
          <a:noFill/>
        </p:spPr>
        <p:txBody>
          <a:bodyPr wrap="none" rtlCol="0">
            <a:spAutoFit/>
          </a:bodyPr>
          <a:lstStyle/>
          <a:p>
            <a:r>
              <a:rPr lang="en-GB" sz="2000" b="1" dirty="0">
                <a:solidFill>
                  <a:schemeClr val="bg1"/>
                </a:solidFill>
              </a:rPr>
              <a:t>Mom Chanty (</a:t>
            </a:r>
            <a:r>
              <a:rPr lang="en-GB" sz="2000" b="1" dirty="0" err="1">
                <a:solidFill>
                  <a:schemeClr val="bg1"/>
                </a:solidFill>
              </a:rPr>
              <a:t>Cambodge</a:t>
            </a:r>
            <a:r>
              <a:rPr lang="en-GB" sz="2000" b="1" dirty="0">
                <a:solidFill>
                  <a:schemeClr val="bg1"/>
                </a:solidFill>
              </a:rPr>
              <a:t>)  </a:t>
            </a:r>
            <a:endParaRPr lang="en-US" sz="2000" b="1" dirty="0">
              <a:solidFill>
                <a:schemeClr val="bg1"/>
              </a:solidFill>
            </a:endParaRPr>
          </a:p>
        </p:txBody>
      </p:sp>
      <p:sp>
        <p:nvSpPr>
          <p:cNvPr id="22" name="TextBox 21">
            <a:extLst>
              <a:ext uri="{FF2B5EF4-FFF2-40B4-BE49-F238E27FC236}">
                <a16:creationId xmlns:a16="http://schemas.microsoft.com/office/drawing/2014/main" id="{A1EB8D2C-30B6-4123-B597-DCA2DDF09EF2}"/>
              </a:ext>
            </a:extLst>
          </p:cNvPr>
          <p:cNvSpPr txBox="1"/>
          <p:nvPr/>
        </p:nvSpPr>
        <p:spPr>
          <a:xfrm>
            <a:off x="9039587" y="2926360"/>
            <a:ext cx="2582502" cy="400110"/>
          </a:xfrm>
          <a:prstGeom prst="rect">
            <a:avLst/>
          </a:prstGeom>
          <a:noFill/>
        </p:spPr>
        <p:txBody>
          <a:bodyPr wrap="none" rtlCol="0">
            <a:spAutoFit/>
          </a:bodyPr>
          <a:lstStyle/>
          <a:p>
            <a:r>
              <a:rPr lang="en-GB" sz="2000" b="1" dirty="0" err="1">
                <a:solidFill>
                  <a:schemeClr val="bg1"/>
                </a:solidFill>
              </a:rPr>
              <a:t>Melik</a:t>
            </a:r>
            <a:r>
              <a:rPr lang="en-GB" sz="2000" b="1" dirty="0">
                <a:solidFill>
                  <a:schemeClr val="bg1"/>
                </a:solidFill>
              </a:rPr>
              <a:t> Minas (</a:t>
            </a:r>
            <a:r>
              <a:rPr lang="en-GB" sz="2000" b="1" dirty="0" err="1">
                <a:solidFill>
                  <a:schemeClr val="bg1"/>
                </a:solidFill>
              </a:rPr>
              <a:t>Turquie</a:t>
            </a:r>
            <a:r>
              <a:rPr lang="en-GB" sz="2000" b="1" dirty="0">
                <a:solidFill>
                  <a:schemeClr val="bg1"/>
                </a:solidFill>
              </a:rPr>
              <a:t>) </a:t>
            </a:r>
            <a:endParaRPr lang="en-US" sz="2000" b="1" dirty="0">
              <a:solidFill>
                <a:schemeClr val="bg1"/>
              </a:solidFill>
            </a:endParaRPr>
          </a:p>
        </p:txBody>
      </p:sp>
      <p:sp>
        <p:nvSpPr>
          <p:cNvPr id="27" name="Espace réservé du numéro de diapositive 3">
            <a:extLst>
              <a:ext uri="{FF2B5EF4-FFF2-40B4-BE49-F238E27FC236}">
                <a16:creationId xmlns:a16="http://schemas.microsoft.com/office/drawing/2014/main" id="{B2B32A9D-2368-4D6C-9077-3C48BD0676B1}"/>
              </a:ext>
            </a:extLst>
          </p:cNvPr>
          <p:cNvSpPr txBox="1">
            <a:spLocks/>
          </p:cNvSpPr>
          <p:nvPr/>
        </p:nvSpPr>
        <p:spPr>
          <a:xfrm>
            <a:off x="3" y="6604000"/>
            <a:ext cx="2370667" cy="254000"/>
          </a:xfrm>
          <a:prstGeom prst="rect">
            <a:avLst/>
          </a:prstGeom>
        </p:spPr>
        <p:txBody>
          <a:bodyPr vert="horz" lIns="91440" tIns="45720" rIns="91440" bIns="45720" rtlCol="0" anchor="ctr"/>
          <a:lstStyle>
            <a:defPPr>
              <a:defRPr lang="en-US"/>
            </a:defPPr>
            <a:lvl1pPr algn="r" defTabSz="457200" fontAlgn="auto">
              <a:spcBef>
                <a:spcPts val="0"/>
              </a:spcBef>
              <a:spcAft>
                <a:spcPts val="0"/>
              </a:spcAft>
              <a:defRPr sz="1200">
                <a:solidFill>
                  <a:prstClr val="white"/>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3D5B703-056F-479E-8893-F9987D298CDC}" type="slidenum">
              <a:rPr lang="en-GB" smtClean="0"/>
              <a:pPr/>
              <a:t>5</a:t>
            </a:fld>
            <a:endParaRPr lang="en-GB"/>
          </a:p>
        </p:txBody>
      </p:sp>
      <p:sp>
        <p:nvSpPr>
          <p:cNvPr id="6" name="Bulle narrative : rectangle à coins arrondis 5">
            <a:extLst>
              <a:ext uri="{FF2B5EF4-FFF2-40B4-BE49-F238E27FC236}">
                <a16:creationId xmlns:a16="http://schemas.microsoft.com/office/drawing/2014/main" id="{D63CC3BE-1017-4FAA-A160-F3DCF54EEE76}"/>
              </a:ext>
            </a:extLst>
          </p:cNvPr>
          <p:cNvSpPr/>
          <p:nvPr/>
        </p:nvSpPr>
        <p:spPr>
          <a:xfrm>
            <a:off x="1379389" y="1543345"/>
            <a:ext cx="9756627" cy="3240088"/>
          </a:xfrm>
          <a:prstGeom prst="wedgeRoundRectCallout">
            <a:avLst>
              <a:gd name="adj1" fmla="val -16394"/>
              <a:gd name="adj2" fmla="val -46620"/>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1200"/>
              </a:spcBef>
            </a:pPr>
            <a:r>
              <a:rPr lang="fr-FR" sz="3200" b="1" dirty="0">
                <a:solidFill>
                  <a:schemeClr val="tx1"/>
                </a:solidFill>
              </a:rPr>
              <a:t>5 des 6 régions du monde </a:t>
            </a:r>
          </a:p>
          <a:p>
            <a:pPr algn="ctr">
              <a:spcBef>
                <a:spcPts val="1200"/>
              </a:spcBef>
            </a:pPr>
            <a:r>
              <a:rPr lang="fr-FR" sz="3200" b="1" dirty="0">
                <a:solidFill>
                  <a:schemeClr val="tx1"/>
                </a:solidFill>
              </a:rPr>
              <a:t>ont été certifiées par l’OMS comme ayant totalement éradiqué le  virus sauvage de la polio </a:t>
            </a:r>
            <a:endParaRPr lang="fr-FR" b="1" dirty="0">
              <a:solidFill>
                <a:schemeClr val="tx1"/>
              </a:solidFill>
            </a:endParaRPr>
          </a:p>
        </p:txBody>
      </p:sp>
    </p:spTree>
    <p:extLst>
      <p:ext uri="{BB962C8B-B14F-4D97-AF65-F5344CB8AC3E}">
        <p14:creationId xmlns:p14="http://schemas.microsoft.com/office/powerpoint/2010/main" val="2646541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789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789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897" grpId="0"/>
      <p:bldP spid="19" grpId="0"/>
      <p:bldP spid="23" grpId="0"/>
      <p:bldP spid="24" grpId="0"/>
      <p:bldP spid="3" grpId="0"/>
      <p:bldP spid="22" grpId="0"/>
      <p:bldP spid="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0408DF05-8CAB-462B-B069-475D95DBC5E0}"/>
              </a:ext>
            </a:extLst>
          </p:cNvPr>
          <p:cNvGrpSpPr/>
          <p:nvPr/>
        </p:nvGrpSpPr>
        <p:grpSpPr>
          <a:xfrm>
            <a:off x="8573107" y="1595353"/>
            <a:ext cx="3003908" cy="2979737"/>
            <a:chOff x="7814411" y="1595353"/>
            <a:chExt cx="3003908" cy="2979737"/>
          </a:xfrm>
        </p:grpSpPr>
        <p:pic>
          <p:nvPicPr>
            <p:cNvPr id="12" name="Picture 2" descr="C:\Users\Valued Customer\Documents\Dropbox\TED Polio 2011\Slide Comps\30-polio_types_02-0223.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814411" y="1595353"/>
              <a:ext cx="2944813" cy="297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p:cNvSpPr txBox="1"/>
            <p:nvPr/>
          </p:nvSpPr>
          <p:spPr>
            <a:xfrm>
              <a:off x="7832966" y="2371797"/>
              <a:ext cx="2985353" cy="1384995"/>
            </a:xfrm>
            <a:prstGeom prst="rect">
              <a:avLst/>
            </a:prstGeom>
            <a:noFill/>
          </p:spPr>
          <p:txBody>
            <a:bodyPr wrap="square" rtlCol="0">
              <a:spAutoFit/>
            </a:bodyPr>
            <a:lstStyle/>
            <a:p>
              <a:pPr algn="ctr" eaLnBrk="0" fontAlgn="base" hangingPunct="0">
                <a:spcBef>
                  <a:spcPct val="0"/>
                </a:spcBef>
                <a:spcAft>
                  <a:spcPct val="0"/>
                </a:spcAft>
              </a:pPr>
              <a:r>
                <a:rPr lang="en-GB" sz="2800" b="1" dirty="0">
                  <a:solidFill>
                    <a:prstClr val="white"/>
                  </a:solidFill>
                  <a:latin typeface="Times New Roman" pitchFamily="18" charset="0"/>
                  <a:cs typeface="Lucida Sans Unicode" pitchFamily="34" charset="0"/>
                </a:rPr>
                <a:t>TYPE 3 ÉRADIQUÉ !</a:t>
              </a:r>
            </a:p>
            <a:p>
              <a:pPr algn="ctr" eaLnBrk="0" fontAlgn="base" hangingPunct="0">
                <a:spcBef>
                  <a:spcPct val="0"/>
                </a:spcBef>
                <a:spcAft>
                  <a:spcPct val="0"/>
                </a:spcAft>
              </a:pPr>
              <a:r>
                <a:rPr lang="en-GB" sz="2800" b="1" dirty="0">
                  <a:solidFill>
                    <a:prstClr val="white"/>
                  </a:solidFill>
                  <a:latin typeface="Times New Roman" pitchFamily="18" charset="0"/>
                  <a:cs typeface="Lucida Sans Unicode" pitchFamily="34" charset="0"/>
                </a:rPr>
                <a:t>(2012) </a:t>
              </a:r>
              <a:endParaRPr lang="en-US" sz="2800" b="1" dirty="0">
                <a:solidFill>
                  <a:prstClr val="white"/>
                </a:solidFill>
                <a:latin typeface="Times New Roman" pitchFamily="18" charset="0"/>
                <a:cs typeface="Lucida Sans Unicode" pitchFamily="34" charset="0"/>
              </a:endParaRPr>
            </a:p>
          </p:txBody>
        </p:sp>
      </p:grpSp>
      <p:grpSp>
        <p:nvGrpSpPr>
          <p:cNvPr id="9" name="Group 8">
            <a:extLst>
              <a:ext uri="{FF2B5EF4-FFF2-40B4-BE49-F238E27FC236}">
                <a16:creationId xmlns:a16="http://schemas.microsoft.com/office/drawing/2014/main" id="{139FD16D-256C-4DC4-B127-65093FE915BE}"/>
              </a:ext>
            </a:extLst>
          </p:cNvPr>
          <p:cNvGrpSpPr/>
          <p:nvPr/>
        </p:nvGrpSpPr>
        <p:grpSpPr>
          <a:xfrm>
            <a:off x="4847693" y="1595353"/>
            <a:ext cx="2985353" cy="2979737"/>
            <a:chOff x="4708735" y="1595353"/>
            <a:chExt cx="2985353" cy="2979737"/>
          </a:xfrm>
        </p:grpSpPr>
        <p:pic>
          <p:nvPicPr>
            <p:cNvPr id="6" name="Picture 2" descr="C:\Users\Valued Customer\Documents\Dropbox\TED Polio 2011\Slide Comps\30-polio_types_02-0223.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712732" y="1595353"/>
              <a:ext cx="2944813" cy="297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4708735" y="2371797"/>
              <a:ext cx="2985353" cy="1384995"/>
            </a:xfrm>
            <a:prstGeom prst="rect">
              <a:avLst/>
            </a:prstGeom>
            <a:noFill/>
          </p:spPr>
          <p:txBody>
            <a:bodyPr wrap="square" rtlCol="0">
              <a:spAutoFit/>
            </a:bodyPr>
            <a:lstStyle/>
            <a:p>
              <a:pPr algn="ctr" eaLnBrk="0" fontAlgn="base" hangingPunct="0">
                <a:spcBef>
                  <a:spcPct val="0"/>
                </a:spcBef>
                <a:spcAft>
                  <a:spcPct val="0"/>
                </a:spcAft>
              </a:pPr>
              <a:r>
                <a:rPr lang="en-GB" sz="2800" b="1" dirty="0">
                  <a:solidFill>
                    <a:prstClr val="white"/>
                  </a:solidFill>
                  <a:latin typeface="Times New Roman" pitchFamily="18" charset="0"/>
                  <a:cs typeface="Lucida Sans Unicode" pitchFamily="34" charset="0"/>
                </a:rPr>
                <a:t>TYPE 2 ÉRADIQUÉ!</a:t>
              </a:r>
            </a:p>
            <a:p>
              <a:pPr algn="ctr" eaLnBrk="0" fontAlgn="base" hangingPunct="0">
                <a:spcBef>
                  <a:spcPct val="0"/>
                </a:spcBef>
                <a:spcAft>
                  <a:spcPct val="0"/>
                </a:spcAft>
              </a:pPr>
              <a:r>
                <a:rPr lang="en-GB" sz="2800" b="1" dirty="0">
                  <a:solidFill>
                    <a:prstClr val="white"/>
                  </a:solidFill>
                  <a:latin typeface="Times New Roman" pitchFamily="18" charset="0"/>
                  <a:cs typeface="Lucida Sans Unicode" pitchFamily="34" charset="0"/>
                </a:rPr>
                <a:t>(1999)</a:t>
              </a:r>
              <a:endParaRPr lang="en-US" sz="2800" b="1" dirty="0">
                <a:solidFill>
                  <a:prstClr val="white"/>
                </a:solidFill>
                <a:latin typeface="Times New Roman" pitchFamily="18" charset="0"/>
                <a:cs typeface="Lucida Sans Unicode" pitchFamily="34" charset="0"/>
              </a:endParaRPr>
            </a:p>
          </p:txBody>
        </p:sp>
      </p:grpSp>
      <p:pic>
        <p:nvPicPr>
          <p:cNvPr id="3" name="Picture 2" descr="C:\Users\Valued Customer\Documents\Dropbox\TED Polio 2011\Slide Comps\29-polio_types_01-0223.jp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615464" y="13648"/>
            <a:ext cx="3580052" cy="6853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descr="C:\Users\Valued Customer\Documents\Dropbox\TED Polio 2011\Slide Comps\30-polio_types_02-0223.jp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8192995" y="13648"/>
            <a:ext cx="3420553" cy="6853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6" descr="C:\Users\Valued Customer\Documents\Dropbox\TED Polio 2011\Slide Comps\30-polio_types_02-0223.jpg">
            <a:extLst>
              <a:ext uri="{FF2B5EF4-FFF2-40B4-BE49-F238E27FC236}">
                <a16:creationId xmlns:a16="http://schemas.microsoft.com/office/drawing/2014/main" id="{F4722D6C-EB89-4FD2-8832-7FECA4615E67}"/>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23735" y="2321"/>
            <a:ext cx="3699702" cy="6853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18">
            <a:extLst>
              <a:ext uri="{FF2B5EF4-FFF2-40B4-BE49-F238E27FC236}">
                <a16:creationId xmlns:a16="http://schemas.microsoft.com/office/drawing/2014/main" id="{D52B7593-02D4-4C1A-8D08-59B2704D0221}"/>
              </a:ext>
            </a:extLst>
          </p:cNvPr>
          <p:cNvSpPr txBox="1"/>
          <p:nvPr/>
        </p:nvSpPr>
        <p:spPr>
          <a:xfrm>
            <a:off x="1330271" y="5006944"/>
            <a:ext cx="3020147" cy="1384995"/>
          </a:xfrm>
          <a:prstGeom prst="rect">
            <a:avLst/>
          </a:prstGeom>
          <a:solidFill>
            <a:srgbClr val="FF0000"/>
          </a:solidFill>
        </p:spPr>
        <p:txBody>
          <a:bodyPr wrap="square" rtlCol="0">
            <a:spAutoFit/>
          </a:bodyPr>
          <a:lstStyle/>
          <a:p>
            <a:pPr algn="ctr" eaLnBrk="0" fontAlgn="base" hangingPunct="0">
              <a:spcBef>
                <a:spcPct val="0"/>
              </a:spcBef>
              <a:spcAft>
                <a:spcPct val="0"/>
              </a:spcAft>
            </a:pPr>
            <a:r>
              <a:rPr lang="en-GB" sz="2800" dirty="0" err="1">
                <a:solidFill>
                  <a:schemeClr val="bg1"/>
                </a:solidFill>
                <a:latin typeface="Times New Roman" pitchFamily="18" charset="0"/>
                <a:cs typeface="Lucida Sans Unicode" pitchFamily="34" charset="0"/>
              </a:rPr>
              <a:t>Uniquement</a:t>
            </a:r>
            <a:r>
              <a:rPr lang="en-GB" sz="2800" dirty="0">
                <a:solidFill>
                  <a:schemeClr val="bg1"/>
                </a:solidFill>
                <a:latin typeface="Times New Roman" pitchFamily="18" charset="0"/>
                <a:cs typeface="Lucida Sans Unicode" pitchFamily="34" charset="0"/>
              </a:rPr>
              <a:t> au Pakistan et </a:t>
            </a:r>
            <a:r>
              <a:rPr lang="en-GB" sz="2800" dirty="0" err="1">
                <a:solidFill>
                  <a:schemeClr val="bg1"/>
                </a:solidFill>
                <a:latin typeface="Times New Roman" pitchFamily="18" charset="0"/>
                <a:cs typeface="Lucida Sans Unicode" pitchFamily="34" charset="0"/>
              </a:rPr>
              <a:t>en</a:t>
            </a:r>
            <a:r>
              <a:rPr lang="en-GB" sz="2800" dirty="0">
                <a:solidFill>
                  <a:schemeClr val="bg1"/>
                </a:solidFill>
                <a:latin typeface="Times New Roman" pitchFamily="18" charset="0"/>
                <a:cs typeface="Lucida Sans Unicode" pitchFamily="34" charset="0"/>
              </a:rPr>
              <a:t>  Afghanistan </a:t>
            </a:r>
            <a:endParaRPr lang="en-US" sz="2800" dirty="0">
              <a:solidFill>
                <a:schemeClr val="bg1"/>
              </a:solidFill>
              <a:latin typeface="Times New Roman" pitchFamily="18" charset="0"/>
              <a:cs typeface="Lucida Sans Unicode" pitchFamily="34" charset="0"/>
            </a:endParaRPr>
          </a:p>
        </p:txBody>
      </p:sp>
      <p:sp>
        <p:nvSpPr>
          <p:cNvPr id="2" name="Signe de multiplication 1">
            <a:extLst>
              <a:ext uri="{FF2B5EF4-FFF2-40B4-BE49-F238E27FC236}">
                <a16:creationId xmlns:a16="http://schemas.microsoft.com/office/drawing/2014/main" id="{A8E97685-22E8-4210-A101-948FC2FAD5E0}"/>
              </a:ext>
            </a:extLst>
          </p:cNvPr>
          <p:cNvSpPr/>
          <p:nvPr/>
        </p:nvSpPr>
        <p:spPr>
          <a:xfrm>
            <a:off x="5111015" y="1501541"/>
            <a:ext cx="2377440" cy="2712702"/>
          </a:xfrm>
          <a:prstGeom prst="mathMultiply">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6" name="Signe de multiplication 15">
            <a:extLst>
              <a:ext uri="{FF2B5EF4-FFF2-40B4-BE49-F238E27FC236}">
                <a16:creationId xmlns:a16="http://schemas.microsoft.com/office/drawing/2014/main" id="{FA03845A-0C04-44D8-9DD5-F7504C55AECA}"/>
              </a:ext>
            </a:extLst>
          </p:cNvPr>
          <p:cNvSpPr/>
          <p:nvPr/>
        </p:nvSpPr>
        <p:spPr>
          <a:xfrm>
            <a:off x="8591662" y="1501541"/>
            <a:ext cx="2377440" cy="2712702"/>
          </a:xfrm>
          <a:prstGeom prst="mathMultiply">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4" name="ZoneTexte 3">
            <a:extLst>
              <a:ext uri="{FF2B5EF4-FFF2-40B4-BE49-F238E27FC236}">
                <a16:creationId xmlns:a16="http://schemas.microsoft.com/office/drawing/2014/main" id="{512DB04A-D103-4BD5-9047-E572AA3393AC}"/>
              </a:ext>
            </a:extLst>
          </p:cNvPr>
          <p:cNvSpPr txBox="1"/>
          <p:nvPr/>
        </p:nvSpPr>
        <p:spPr>
          <a:xfrm>
            <a:off x="5181867" y="4211220"/>
            <a:ext cx="2423420" cy="461665"/>
          </a:xfrm>
          <a:prstGeom prst="rect">
            <a:avLst/>
          </a:prstGeom>
          <a:solidFill>
            <a:schemeClr val="tx1"/>
          </a:solidFill>
        </p:spPr>
        <p:txBody>
          <a:bodyPr wrap="none" rtlCol="0">
            <a:spAutoFit/>
          </a:bodyPr>
          <a:lstStyle/>
          <a:p>
            <a:pPr algn="ctr"/>
            <a:r>
              <a:rPr lang="fr-FR" sz="2400" dirty="0">
                <a:solidFill>
                  <a:schemeClr val="bg1"/>
                </a:solidFill>
              </a:rPr>
              <a:t>Poliovirus Type 2  </a:t>
            </a:r>
          </a:p>
        </p:txBody>
      </p:sp>
      <p:sp>
        <p:nvSpPr>
          <p:cNvPr id="17" name="ZoneTexte 16">
            <a:extLst>
              <a:ext uri="{FF2B5EF4-FFF2-40B4-BE49-F238E27FC236}">
                <a16:creationId xmlns:a16="http://schemas.microsoft.com/office/drawing/2014/main" id="{EB914DD3-8661-41C9-8CB7-55045BD59AD1}"/>
              </a:ext>
            </a:extLst>
          </p:cNvPr>
          <p:cNvSpPr txBox="1"/>
          <p:nvPr/>
        </p:nvSpPr>
        <p:spPr>
          <a:xfrm>
            <a:off x="8517223" y="4211220"/>
            <a:ext cx="2354491" cy="461665"/>
          </a:xfrm>
          <a:prstGeom prst="rect">
            <a:avLst/>
          </a:prstGeom>
          <a:solidFill>
            <a:schemeClr val="tx1"/>
          </a:solidFill>
        </p:spPr>
        <p:txBody>
          <a:bodyPr wrap="none" rtlCol="0">
            <a:spAutoFit/>
          </a:bodyPr>
          <a:lstStyle/>
          <a:p>
            <a:pPr algn="ctr"/>
            <a:r>
              <a:rPr lang="fr-FR" sz="2400" dirty="0">
                <a:solidFill>
                  <a:schemeClr val="bg1"/>
                </a:solidFill>
              </a:rPr>
              <a:t>Poliovirus Type 3 </a:t>
            </a:r>
          </a:p>
        </p:txBody>
      </p:sp>
      <p:sp>
        <p:nvSpPr>
          <p:cNvPr id="5" name="ZoneTexte 4">
            <a:extLst>
              <a:ext uri="{FF2B5EF4-FFF2-40B4-BE49-F238E27FC236}">
                <a16:creationId xmlns:a16="http://schemas.microsoft.com/office/drawing/2014/main" id="{EE8E069C-D103-4733-8439-4E7D35525B1F}"/>
              </a:ext>
            </a:extLst>
          </p:cNvPr>
          <p:cNvSpPr txBox="1"/>
          <p:nvPr/>
        </p:nvSpPr>
        <p:spPr>
          <a:xfrm>
            <a:off x="4438146" y="4914612"/>
            <a:ext cx="3906903" cy="1569660"/>
          </a:xfrm>
          <a:prstGeom prst="rect">
            <a:avLst/>
          </a:prstGeom>
          <a:noFill/>
        </p:spPr>
        <p:txBody>
          <a:bodyPr wrap="none" rtlCol="0">
            <a:spAutoFit/>
          </a:bodyPr>
          <a:lstStyle/>
          <a:p>
            <a:pPr algn="ctr"/>
            <a:r>
              <a:rPr lang="fr-FR" sz="2400" dirty="0">
                <a:solidFill>
                  <a:schemeClr val="bg1"/>
                </a:solidFill>
              </a:rPr>
              <a:t>Disparu depuis 1999</a:t>
            </a:r>
          </a:p>
          <a:p>
            <a:pPr algn="ctr"/>
            <a:r>
              <a:rPr lang="fr-FR" sz="2400" dirty="0">
                <a:solidFill>
                  <a:schemeClr val="bg1"/>
                </a:solidFill>
              </a:rPr>
              <a:t>Déclaré </a:t>
            </a:r>
            <a:r>
              <a:rPr lang="fr-FR" sz="2400" b="1" dirty="0">
                <a:solidFill>
                  <a:schemeClr val="bg1"/>
                </a:solidFill>
              </a:rPr>
              <a:t>éradiqué</a:t>
            </a:r>
            <a:r>
              <a:rPr lang="fr-FR" sz="2400" dirty="0">
                <a:solidFill>
                  <a:schemeClr val="bg1"/>
                </a:solidFill>
              </a:rPr>
              <a:t> par l’OMS</a:t>
            </a:r>
          </a:p>
          <a:p>
            <a:pPr algn="ctr"/>
            <a:r>
              <a:rPr lang="fr-FR" sz="2400" dirty="0">
                <a:solidFill>
                  <a:schemeClr val="bg1"/>
                </a:solidFill>
              </a:rPr>
              <a:t>en 2015</a:t>
            </a:r>
          </a:p>
          <a:p>
            <a:endParaRPr lang="fr-FR" sz="2400" dirty="0"/>
          </a:p>
        </p:txBody>
      </p:sp>
      <p:sp>
        <p:nvSpPr>
          <p:cNvPr id="20" name="ZoneTexte 19">
            <a:extLst>
              <a:ext uri="{FF2B5EF4-FFF2-40B4-BE49-F238E27FC236}">
                <a16:creationId xmlns:a16="http://schemas.microsoft.com/office/drawing/2014/main" id="{B3343F8E-A9F5-4EBF-BF85-26F65E1EF90D}"/>
              </a:ext>
            </a:extLst>
          </p:cNvPr>
          <p:cNvSpPr txBox="1"/>
          <p:nvPr/>
        </p:nvSpPr>
        <p:spPr>
          <a:xfrm>
            <a:off x="7242744" y="344090"/>
            <a:ext cx="4566486" cy="1200329"/>
          </a:xfrm>
          <a:prstGeom prst="rect">
            <a:avLst/>
          </a:prstGeom>
          <a:noFill/>
        </p:spPr>
        <p:txBody>
          <a:bodyPr wrap="square">
            <a:spAutoFit/>
          </a:bodyPr>
          <a:lstStyle/>
          <a:p>
            <a:pPr algn="ctr"/>
            <a:r>
              <a:rPr lang="fr-FR" sz="2400" dirty="0">
                <a:solidFill>
                  <a:schemeClr val="bg1"/>
                </a:solidFill>
              </a:rPr>
              <a:t>Disparu depuis 2012</a:t>
            </a:r>
          </a:p>
          <a:p>
            <a:pPr algn="ctr"/>
            <a:r>
              <a:rPr lang="fr-FR" sz="2400" dirty="0">
                <a:solidFill>
                  <a:schemeClr val="bg1"/>
                </a:solidFill>
              </a:rPr>
              <a:t>Déclaré </a:t>
            </a:r>
            <a:r>
              <a:rPr lang="fr-FR" sz="2400" b="1" dirty="0">
                <a:solidFill>
                  <a:schemeClr val="bg1"/>
                </a:solidFill>
              </a:rPr>
              <a:t>éradiqué</a:t>
            </a:r>
            <a:r>
              <a:rPr lang="fr-FR" sz="2400" dirty="0">
                <a:solidFill>
                  <a:schemeClr val="bg1"/>
                </a:solidFill>
              </a:rPr>
              <a:t> par l’OMS </a:t>
            </a:r>
          </a:p>
          <a:p>
            <a:pPr algn="ctr"/>
            <a:r>
              <a:rPr lang="fr-FR" sz="2400" dirty="0">
                <a:solidFill>
                  <a:schemeClr val="bg1"/>
                </a:solidFill>
              </a:rPr>
              <a:t>en  2019 </a:t>
            </a:r>
          </a:p>
        </p:txBody>
      </p:sp>
      <p:sp>
        <p:nvSpPr>
          <p:cNvPr id="21" name="ZoneTexte 20">
            <a:extLst>
              <a:ext uri="{FF2B5EF4-FFF2-40B4-BE49-F238E27FC236}">
                <a16:creationId xmlns:a16="http://schemas.microsoft.com/office/drawing/2014/main" id="{EB755CC3-8D22-4A74-94DF-D6F28439F11E}"/>
              </a:ext>
            </a:extLst>
          </p:cNvPr>
          <p:cNvSpPr txBox="1"/>
          <p:nvPr/>
        </p:nvSpPr>
        <p:spPr>
          <a:xfrm>
            <a:off x="1851215" y="4211220"/>
            <a:ext cx="2423420" cy="461665"/>
          </a:xfrm>
          <a:prstGeom prst="rect">
            <a:avLst/>
          </a:prstGeom>
          <a:solidFill>
            <a:schemeClr val="tx1"/>
          </a:solidFill>
        </p:spPr>
        <p:txBody>
          <a:bodyPr wrap="none" rtlCol="0">
            <a:spAutoFit/>
          </a:bodyPr>
          <a:lstStyle/>
          <a:p>
            <a:pPr algn="ctr"/>
            <a:r>
              <a:rPr lang="fr-FR" sz="2400" dirty="0">
                <a:solidFill>
                  <a:schemeClr val="bg1"/>
                </a:solidFill>
              </a:rPr>
              <a:t>Poliovirus Type 1  </a:t>
            </a:r>
          </a:p>
        </p:txBody>
      </p:sp>
      <p:sp>
        <p:nvSpPr>
          <p:cNvPr id="8" name="ZoneTexte 7">
            <a:extLst>
              <a:ext uri="{FF2B5EF4-FFF2-40B4-BE49-F238E27FC236}">
                <a16:creationId xmlns:a16="http://schemas.microsoft.com/office/drawing/2014/main" id="{44CCAD9F-5670-41E9-BEA9-B839426BC18A}"/>
              </a:ext>
            </a:extLst>
          </p:cNvPr>
          <p:cNvSpPr txBox="1"/>
          <p:nvPr/>
        </p:nvSpPr>
        <p:spPr>
          <a:xfrm>
            <a:off x="5415208" y="512113"/>
            <a:ext cx="1952779" cy="584775"/>
          </a:xfrm>
          <a:prstGeom prst="rect">
            <a:avLst/>
          </a:prstGeom>
          <a:noFill/>
        </p:spPr>
        <p:txBody>
          <a:bodyPr wrap="none" rtlCol="0">
            <a:spAutoFit/>
          </a:bodyPr>
          <a:lstStyle/>
          <a:p>
            <a:r>
              <a:rPr lang="fr-FR" sz="3200" b="1" dirty="0">
                <a:solidFill>
                  <a:schemeClr val="bg1"/>
                </a:solidFill>
              </a:rPr>
              <a:t>Mais aussi</a:t>
            </a:r>
          </a:p>
        </p:txBody>
      </p:sp>
    </p:spTree>
    <p:extLst>
      <p:ext uri="{BB962C8B-B14F-4D97-AF65-F5344CB8AC3E}">
        <p14:creationId xmlns:p14="http://schemas.microsoft.com/office/powerpoint/2010/main" val="26859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 grpId="0" animBg="1"/>
      <p:bldP spid="16" grpId="0" animBg="1"/>
      <p:bldP spid="5" grpId="0"/>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3083C1F9-980E-8647-B3DD-594DA8F18C5A}"/>
              </a:ext>
            </a:extLst>
          </p:cNvPr>
          <p:cNvSpPr/>
          <p:nvPr/>
        </p:nvSpPr>
        <p:spPr>
          <a:xfrm>
            <a:off x="5577704" y="2451100"/>
            <a:ext cx="1346200" cy="1346200"/>
          </a:xfrm>
          <a:prstGeom prst="ellipse">
            <a:avLst/>
          </a:prstGeom>
          <a:noFill/>
          <a:ln w="63500">
            <a:solidFill>
              <a:schemeClr val="bg1">
                <a:alpha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Oval 9">
            <a:extLst>
              <a:ext uri="{FF2B5EF4-FFF2-40B4-BE49-F238E27FC236}">
                <a16:creationId xmlns:a16="http://schemas.microsoft.com/office/drawing/2014/main" id="{31765329-F251-694A-AE14-43A7F41996C3}"/>
              </a:ext>
            </a:extLst>
          </p:cNvPr>
          <p:cNvSpPr/>
          <p:nvPr/>
        </p:nvSpPr>
        <p:spPr>
          <a:xfrm>
            <a:off x="5787254" y="2660650"/>
            <a:ext cx="927100" cy="927100"/>
          </a:xfrm>
          <a:prstGeom prst="ellipse">
            <a:avLst/>
          </a:prstGeom>
          <a:noFill/>
          <a:ln w="63500">
            <a:solidFill>
              <a:schemeClr val="bg1">
                <a:alpha val="6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Oval 10">
            <a:extLst>
              <a:ext uri="{FF2B5EF4-FFF2-40B4-BE49-F238E27FC236}">
                <a16:creationId xmlns:a16="http://schemas.microsoft.com/office/drawing/2014/main" id="{AC6F34B3-2CA8-AD44-8A6C-4BDCDC95B160}"/>
              </a:ext>
            </a:extLst>
          </p:cNvPr>
          <p:cNvSpPr/>
          <p:nvPr/>
        </p:nvSpPr>
        <p:spPr>
          <a:xfrm>
            <a:off x="5312206" y="2185602"/>
            <a:ext cx="1877196" cy="1877196"/>
          </a:xfrm>
          <a:prstGeom prst="ellipse">
            <a:avLst/>
          </a:prstGeom>
          <a:noFill/>
          <a:ln w="63500">
            <a:solidFill>
              <a:schemeClr val="bg1">
                <a:alpha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4DF049C1-04A2-42D1-9899-B1DFB534A5F7}"/>
              </a:ext>
            </a:extLst>
          </p:cNvPr>
          <p:cNvSpPr txBox="1"/>
          <p:nvPr/>
        </p:nvSpPr>
        <p:spPr>
          <a:xfrm>
            <a:off x="2587200" y="127718"/>
            <a:ext cx="6663619" cy="646331"/>
          </a:xfrm>
          <a:prstGeom prst="rect">
            <a:avLst/>
          </a:prstGeom>
          <a:noFill/>
        </p:spPr>
        <p:txBody>
          <a:bodyPr wrap="none" rtlCol="0">
            <a:spAutoFit/>
          </a:bodyPr>
          <a:lstStyle/>
          <a:p>
            <a:pPr algn="ctr" defTabSz="457200" fontAlgn="base">
              <a:spcBef>
                <a:spcPct val="0"/>
              </a:spcBef>
              <a:spcAft>
                <a:spcPct val="0"/>
              </a:spcAft>
            </a:pPr>
            <a:r>
              <a:rPr lang="fr-CH" sz="3600" b="1" dirty="0">
                <a:solidFill>
                  <a:srgbClr val="F49B03"/>
                </a:solidFill>
                <a:latin typeface="+mj-lt"/>
                <a:ea typeface="+mj-ea"/>
                <a:cs typeface="+mj-cs"/>
              </a:rPr>
              <a:t>Un remarquable chemin parcouru</a:t>
            </a:r>
            <a:endParaRPr lang="en-US" sz="3600" b="1" dirty="0">
              <a:solidFill>
                <a:srgbClr val="F49B03"/>
              </a:solidFill>
              <a:latin typeface="+mj-lt"/>
              <a:ea typeface="+mj-ea"/>
              <a:cs typeface="+mj-cs"/>
            </a:endParaRPr>
          </a:p>
        </p:txBody>
      </p:sp>
      <p:sp>
        <p:nvSpPr>
          <p:cNvPr id="17" name="TextBox 42">
            <a:extLst>
              <a:ext uri="{FF2B5EF4-FFF2-40B4-BE49-F238E27FC236}">
                <a16:creationId xmlns:a16="http://schemas.microsoft.com/office/drawing/2014/main" id="{3B134C71-B2F9-4CE2-A3E6-2D79ABF5EDB2}"/>
              </a:ext>
            </a:extLst>
          </p:cNvPr>
          <p:cNvSpPr txBox="1"/>
          <p:nvPr/>
        </p:nvSpPr>
        <p:spPr>
          <a:xfrm>
            <a:off x="1491641" y="5697967"/>
            <a:ext cx="73206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Pakistan</a:t>
            </a:r>
            <a:endParaRPr kumimoji="0" lang="en-US" sz="1800" b="1" i="1"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8" name="Espace réservé du numéro de diapositive 3">
            <a:extLst>
              <a:ext uri="{FF2B5EF4-FFF2-40B4-BE49-F238E27FC236}">
                <a16:creationId xmlns:a16="http://schemas.microsoft.com/office/drawing/2014/main" id="{32F79DB6-D1E6-4FC9-96B8-46F8CF3A5913}"/>
              </a:ext>
            </a:extLst>
          </p:cNvPr>
          <p:cNvSpPr txBox="1">
            <a:spLocks/>
          </p:cNvSpPr>
          <p:nvPr/>
        </p:nvSpPr>
        <p:spPr>
          <a:xfrm>
            <a:off x="3" y="6614886"/>
            <a:ext cx="2370667" cy="254000"/>
          </a:xfrm>
          <a:prstGeom prst="rect">
            <a:avLst/>
          </a:prstGeom>
        </p:spPr>
        <p:txBody>
          <a:bodyPr vert="horz" lIns="91440" tIns="45720" rIns="91440" bIns="45720" rtlCol="0" anchor="ctr"/>
          <a:lstStyle>
            <a:defPPr>
              <a:defRPr lang="en-US"/>
            </a:defPPr>
            <a:lvl1pPr algn="r" defTabSz="457200" fontAlgn="auto">
              <a:spcBef>
                <a:spcPts val="0"/>
              </a:spcBef>
              <a:spcAft>
                <a:spcPts val="0"/>
              </a:spcAft>
              <a:defRPr sz="1200">
                <a:solidFill>
                  <a:prstClr val="white"/>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3D5B703-056F-479E-8893-F9987D298CDC}" type="slidenum">
              <a:rPr lang="en-GB" smtClean="0"/>
              <a:pPr/>
              <a:t>7</a:t>
            </a:fld>
            <a:endParaRPr lang="en-GB"/>
          </a:p>
        </p:txBody>
      </p:sp>
      <p:pic>
        <p:nvPicPr>
          <p:cNvPr id="9" name="Picture 8">
            <a:extLst>
              <a:ext uri="{FF2B5EF4-FFF2-40B4-BE49-F238E27FC236}">
                <a16:creationId xmlns:a16="http://schemas.microsoft.com/office/drawing/2014/main" id="{011AF619-9BB5-A644-ADD6-6B44BC6BA7C4}"/>
              </a:ext>
            </a:extLst>
          </p:cNvPr>
          <p:cNvPicPr>
            <a:picLocks noChangeAspect="1"/>
          </p:cNvPicPr>
          <p:nvPr/>
        </p:nvPicPr>
        <p:blipFill rotWithShape="1">
          <a:blip r:embed="rId3" cstate="email">
            <a:alphaModFix/>
            <a:extLst>
              <a:ext uri="{28A0092B-C50C-407E-A947-70E740481C1C}">
                <a14:useLocalDpi xmlns:a14="http://schemas.microsoft.com/office/drawing/2010/main"/>
              </a:ext>
            </a:extLst>
          </a:blip>
          <a:srcRect/>
          <a:stretch/>
        </p:blipFill>
        <p:spPr>
          <a:xfrm>
            <a:off x="329141" y="1010251"/>
            <a:ext cx="10681854" cy="5486400"/>
          </a:xfrm>
          <a:prstGeom prst="rect">
            <a:avLst/>
          </a:prstGeom>
        </p:spPr>
      </p:pic>
      <p:sp>
        <p:nvSpPr>
          <p:cNvPr id="14" name="Rectangle 13">
            <a:extLst>
              <a:ext uri="{FF2B5EF4-FFF2-40B4-BE49-F238E27FC236}">
                <a16:creationId xmlns:a16="http://schemas.microsoft.com/office/drawing/2014/main" id="{166E5757-07FF-4F44-B11E-6FCF4C69BE41}"/>
              </a:ext>
            </a:extLst>
          </p:cNvPr>
          <p:cNvSpPr/>
          <p:nvPr/>
        </p:nvSpPr>
        <p:spPr>
          <a:xfrm>
            <a:off x="7801949" y="2710468"/>
            <a:ext cx="4087091" cy="165516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dirty="0">
              <a:ln>
                <a:noFill/>
              </a:ln>
              <a:solidFill>
                <a:prstClr val="white"/>
              </a:solidFill>
              <a:effectLst/>
              <a:uLnTx/>
              <a:uFillTx/>
              <a:latin typeface="Calibri"/>
              <a:ea typeface="+mn-ea"/>
              <a:cs typeface="+mn-cs"/>
            </a:endParaRPr>
          </a:p>
        </p:txBody>
      </p:sp>
      <p:sp>
        <p:nvSpPr>
          <p:cNvPr id="15" name="Rectangle 2">
            <a:extLst>
              <a:ext uri="{FF2B5EF4-FFF2-40B4-BE49-F238E27FC236}">
                <a16:creationId xmlns:a16="http://schemas.microsoft.com/office/drawing/2014/main" id="{15D4BA48-E083-744A-AF05-A59443522C28}"/>
              </a:ext>
            </a:extLst>
          </p:cNvPr>
          <p:cNvSpPr txBox="1">
            <a:spLocks noChangeArrowheads="1"/>
          </p:cNvSpPr>
          <p:nvPr/>
        </p:nvSpPr>
        <p:spPr>
          <a:xfrm>
            <a:off x="7967374" y="2660995"/>
            <a:ext cx="4481851" cy="1655164"/>
          </a:xfrm>
          <a:prstGeom prst="rect">
            <a:avLst/>
          </a:prstGeom>
        </p:spPr>
        <p:txBody>
          <a:bodyPr vert="horz" wrap="square" lIns="0" tIns="0" rIns="0" bIns="0" rtlCol="0" anchor="ctr">
            <a:noAutofit/>
          </a:bodyPr>
          <a:lst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itchFamily="34" charset="0"/>
              </a:defRPr>
            </a:lvl2pPr>
            <a:lvl3pPr algn="ctr" defTabSz="457200" rtl="0" eaLnBrk="0" fontAlgn="base" hangingPunct="0">
              <a:spcBef>
                <a:spcPct val="0"/>
              </a:spcBef>
              <a:spcAft>
                <a:spcPct val="0"/>
              </a:spcAft>
              <a:defRPr sz="4400">
                <a:solidFill>
                  <a:schemeClr val="tx1"/>
                </a:solidFill>
                <a:latin typeface="Calibri" pitchFamily="34" charset="0"/>
              </a:defRPr>
            </a:lvl3pPr>
            <a:lvl4pPr algn="ctr" defTabSz="457200" rtl="0" eaLnBrk="0" fontAlgn="base" hangingPunct="0">
              <a:spcBef>
                <a:spcPct val="0"/>
              </a:spcBef>
              <a:spcAft>
                <a:spcPct val="0"/>
              </a:spcAft>
              <a:defRPr sz="4400">
                <a:solidFill>
                  <a:schemeClr val="tx1"/>
                </a:solidFill>
                <a:latin typeface="Calibri" pitchFamily="34" charset="0"/>
              </a:defRPr>
            </a:lvl4pPr>
            <a:lvl5pPr algn="ctr" defTabSz="457200" rtl="0" eaLnBrk="0" fontAlgn="base" hangingPunct="0">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a:lstStyle>
          <a:p>
            <a:pPr marL="0" marR="0" lvl="0" indent="0" algn="l" defTabSz="914400" rtl="0" eaLnBrk="1" fontAlgn="base" latinLnBrk="0" hangingPunct="1">
              <a:lnSpc>
                <a:spcPts val="34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FFC000"/>
                </a:solidFill>
                <a:effectLst/>
                <a:uLnTx/>
                <a:uFillTx/>
                <a:latin typeface="Calibri"/>
                <a:ea typeface="+mj-ea"/>
                <a:cs typeface="+mj-cs"/>
              </a:rPr>
              <a:t>2022</a:t>
            </a:r>
          </a:p>
          <a:p>
            <a:pPr marL="0" marR="0" lvl="0" indent="0" algn="l" defTabSz="914400" rtl="0" eaLnBrk="1" fontAlgn="base" latinLnBrk="0" hangingPunct="1">
              <a:lnSpc>
                <a:spcPts val="3400"/>
              </a:lnSpc>
              <a:spcBef>
                <a:spcPct val="0"/>
              </a:spcBef>
              <a:spcAft>
                <a:spcPct val="0"/>
              </a:spcAft>
              <a:buClrTx/>
              <a:buSzTx/>
              <a:buFontTx/>
              <a:buNone/>
              <a:tabLst/>
              <a:defRPr/>
            </a:pPr>
            <a:r>
              <a:rPr kumimoji="0" lang="fr-FR" sz="3200" i="0" u="none" strike="noStrike" kern="1200" cap="none" spc="0" normalizeH="0" baseline="0" dirty="0">
                <a:ln>
                  <a:noFill/>
                </a:ln>
                <a:solidFill>
                  <a:prstClr val="white"/>
                </a:solidFill>
                <a:effectLst/>
                <a:uLnTx/>
                <a:uFillTx/>
                <a:latin typeface="Calibri"/>
                <a:ea typeface="+mj-ea"/>
                <a:cs typeface="+mj-cs"/>
              </a:rPr>
              <a:t>Deux pays seulement !!</a:t>
            </a:r>
          </a:p>
        </p:txBody>
      </p:sp>
      <p:pic>
        <p:nvPicPr>
          <p:cNvPr id="4" name="Image 3">
            <a:extLst>
              <a:ext uri="{FF2B5EF4-FFF2-40B4-BE49-F238E27FC236}">
                <a16:creationId xmlns:a16="http://schemas.microsoft.com/office/drawing/2014/main" id="{6E8400B1-602E-5074-404B-113529ED064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04800" y="0"/>
            <a:ext cx="2580167" cy="1003398"/>
          </a:xfrm>
          <a:prstGeom prst="rect">
            <a:avLst/>
          </a:prstGeom>
        </p:spPr>
      </p:pic>
      <p:pic>
        <p:nvPicPr>
          <p:cNvPr id="6" name="Image 5">
            <a:extLst>
              <a:ext uri="{FF2B5EF4-FFF2-40B4-BE49-F238E27FC236}">
                <a16:creationId xmlns:a16="http://schemas.microsoft.com/office/drawing/2014/main" id="{07260CA4-E4FA-46B7-B02D-9CD666785A3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45293" y="5273748"/>
            <a:ext cx="1000721" cy="1271388"/>
          </a:xfrm>
          <a:prstGeom prst="rect">
            <a:avLst/>
          </a:prstGeom>
        </p:spPr>
      </p:pic>
    </p:spTree>
    <p:extLst>
      <p:ext uri="{BB962C8B-B14F-4D97-AF65-F5344CB8AC3E}">
        <p14:creationId xmlns:p14="http://schemas.microsoft.com/office/powerpoint/2010/main" val="18619551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7C817B67-98B4-4D7E-93F9-E8F4496FD896}"/>
              </a:ext>
            </a:extLst>
          </p:cNvPr>
          <p:cNvSpPr txBox="1"/>
          <p:nvPr/>
        </p:nvSpPr>
        <p:spPr>
          <a:xfrm>
            <a:off x="1075365" y="4591349"/>
            <a:ext cx="10363200" cy="954107"/>
          </a:xfrm>
          <a:prstGeom prst="rect">
            <a:avLst/>
          </a:prstGeom>
          <a:noFill/>
        </p:spPr>
        <p:txBody>
          <a:bodyPr wrap="square" rtlCol="0">
            <a:spAutoFit/>
          </a:bodyPr>
          <a:lstStyle/>
          <a:p>
            <a:pPr algn="ctr"/>
            <a:r>
              <a:rPr lang="fr-FR" sz="2800" b="1" dirty="0"/>
              <a:t>Pakistan – Afghanistan </a:t>
            </a:r>
          </a:p>
          <a:p>
            <a:pPr algn="ctr"/>
            <a:r>
              <a:rPr lang="fr-FR" sz="2800" b="1" dirty="0"/>
              <a:t>Une situation fragile mais encourageante </a:t>
            </a:r>
          </a:p>
        </p:txBody>
      </p:sp>
      <p:sp>
        <p:nvSpPr>
          <p:cNvPr id="11" name="Espace réservé du numéro de diapositive 3">
            <a:extLst>
              <a:ext uri="{FF2B5EF4-FFF2-40B4-BE49-F238E27FC236}">
                <a16:creationId xmlns:a16="http://schemas.microsoft.com/office/drawing/2014/main" id="{D0133830-1603-43C8-9BD9-E20DB15195CE}"/>
              </a:ext>
            </a:extLst>
          </p:cNvPr>
          <p:cNvSpPr txBox="1">
            <a:spLocks/>
          </p:cNvSpPr>
          <p:nvPr/>
        </p:nvSpPr>
        <p:spPr>
          <a:xfrm>
            <a:off x="3" y="6604000"/>
            <a:ext cx="2370667" cy="254000"/>
          </a:xfrm>
          <a:prstGeom prst="rect">
            <a:avLst/>
          </a:prstGeom>
        </p:spPr>
        <p:txBody>
          <a:bodyPr vert="horz" lIns="91440" tIns="45720" rIns="91440" bIns="45720" rtlCol="0" anchor="ctr"/>
          <a:lstStyle>
            <a:defPPr>
              <a:defRPr lang="en-US"/>
            </a:defPPr>
            <a:lvl1pPr algn="r" defTabSz="457200" fontAlgn="auto">
              <a:spcBef>
                <a:spcPts val="0"/>
              </a:spcBef>
              <a:spcAft>
                <a:spcPts val="0"/>
              </a:spcAft>
              <a:defRPr sz="1200">
                <a:solidFill>
                  <a:prstClr val="white"/>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3D5B703-056F-479E-8893-F9987D298CDC}" type="slidenum">
              <a:rPr lang="en-GB" smtClean="0"/>
              <a:pPr/>
              <a:t>8</a:t>
            </a:fld>
            <a:endParaRPr lang="en-GB"/>
          </a:p>
        </p:txBody>
      </p:sp>
      <p:pic>
        <p:nvPicPr>
          <p:cNvPr id="3" name="Image 2" descr="Une image contenant carte&#10;&#10;Description générée automatiquement">
            <a:extLst>
              <a:ext uri="{FF2B5EF4-FFF2-40B4-BE49-F238E27FC236}">
                <a16:creationId xmlns:a16="http://schemas.microsoft.com/office/drawing/2014/main" id="{79DDDC20-1083-4573-BC25-B1771C798EE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29187" y="137163"/>
            <a:ext cx="5505850" cy="4594212"/>
          </a:xfrm>
          <a:prstGeom prst="rect">
            <a:avLst/>
          </a:prstGeom>
        </p:spPr>
      </p:pic>
      <p:sp>
        <p:nvSpPr>
          <p:cNvPr id="16" name="ZoneTexte 15">
            <a:extLst>
              <a:ext uri="{FF2B5EF4-FFF2-40B4-BE49-F238E27FC236}">
                <a16:creationId xmlns:a16="http://schemas.microsoft.com/office/drawing/2014/main" id="{C628F8A1-9868-4BB7-AC2A-CFA66D448D38}"/>
              </a:ext>
            </a:extLst>
          </p:cNvPr>
          <p:cNvSpPr txBox="1"/>
          <p:nvPr/>
        </p:nvSpPr>
        <p:spPr>
          <a:xfrm>
            <a:off x="1412875" y="5474564"/>
            <a:ext cx="9703760" cy="1200329"/>
          </a:xfrm>
          <a:prstGeom prst="rect">
            <a:avLst/>
          </a:prstGeom>
          <a:noFill/>
        </p:spPr>
        <p:txBody>
          <a:bodyPr wrap="square">
            <a:spAutoFit/>
          </a:bodyPr>
          <a:lstStyle/>
          <a:p>
            <a:pPr marL="342900" indent="-342900">
              <a:buFont typeface="Wingdings" panose="05000000000000000000" pitchFamily="2" charset="2"/>
              <a:buChar char="Ø"/>
            </a:pPr>
            <a:r>
              <a:rPr lang="fr-FR" sz="2400" dirty="0"/>
              <a:t>Diminution du nombre de cas </a:t>
            </a:r>
          </a:p>
          <a:p>
            <a:pPr marL="342900" indent="-342900">
              <a:buFont typeface="Wingdings" panose="05000000000000000000" pitchFamily="2" charset="2"/>
              <a:buChar char="Ø"/>
            </a:pPr>
            <a:r>
              <a:rPr lang="fr-FR" sz="2400" dirty="0"/>
              <a:t>Diminution des prélèvements positifs dans les eaux usées</a:t>
            </a:r>
          </a:p>
          <a:p>
            <a:pPr marL="342900" indent="-342900">
              <a:buFont typeface="Wingdings" panose="05000000000000000000" pitchFamily="2" charset="2"/>
              <a:buChar char="Ø"/>
            </a:pPr>
            <a:r>
              <a:rPr lang="fr-FR" sz="2400" dirty="0"/>
              <a:t>Appauvrissement de la diversité génétique du virus  </a:t>
            </a:r>
          </a:p>
        </p:txBody>
      </p:sp>
      <p:pic>
        <p:nvPicPr>
          <p:cNvPr id="4" name="Image 3">
            <a:extLst>
              <a:ext uri="{FF2B5EF4-FFF2-40B4-BE49-F238E27FC236}">
                <a16:creationId xmlns:a16="http://schemas.microsoft.com/office/drawing/2014/main" id="{C4C830E8-A77D-1CB4-09C9-5C68B391F8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43794" y="5290254"/>
            <a:ext cx="1030316" cy="1308987"/>
          </a:xfrm>
          <a:prstGeom prst="rect">
            <a:avLst/>
          </a:prstGeom>
        </p:spPr>
      </p:pic>
      <p:grpSp>
        <p:nvGrpSpPr>
          <p:cNvPr id="6" name="Groupe 5">
            <a:extLst>
              <a:ext uri="{FF2B5EF4-FFF2-40B4-BE49-F238E27FC236}">
                <a16:creationId xmlns:a16="http://schemas.microsoft.com/office/drawing/2014/main" id="{CB58C9AC-85B9-C7FD-1F72-52827977797D}"/>
              </a:ext>
            </a:extLst>
          </p:cNvPr>
          <p:cNvGrpSpPr/>
          <p:nvPr/>
        </p:nvGrpSpPr>
        <p:grpSpPr>
          <a:xfrm>
            <a:off x="5941511" y="97352"/>
            <a:ext cx="5821302" cy="4594212"/>
            <a:chOff x="10981" y="982942"/>
            <a:chExt cx="7205501" cy="5468586"/>
          </a:xfrm>
        </p:grpSpPr>
        <p:pic>
          <p:nvPicPr>
            <p:cNvPr id="7" name="Picture 6">
              <a:extLst>
                <a:ext uri="{FF2B5EF4-FFF2-40B4-BE49-F238E27FC236}">
                  <a16:creationId xmlns:a16="http://schemas.microsoft.com/office/drawing/2014/main" id="{AFF4959B-956C-66DF-A0F3-D3A950420FBA}"/>
                </a:ext>
              </a:extLst>
            </p:cNvPr>
            <p:cNvPicPr>
              <a:picLocks noChangeAspect="1"/>
            </p:cNvPicPr>
            <p:nvPr/>
          </p:nvPicPr>
          <p:blipFill rotWithShape="1">
            <a:blip r:embed="rId4"/>
            <a:srcRect l="5787" r="5500"/>
            <a:stretch/>
          </p:blipFill>
          <p:spPr>
            <a:xfrm>
              <a:off x="79514" y="982942"/>
              <a:ext cx="7136968" cy="5468586"/>
            </a:xfrm>
            <a:prstGeom prst="rect">
              <a:avLst/>
            </a:prstGeom>
          </p:spPr>
        </p:pic>
        <p:sp>
          <p:nvSpPr>
            <p:cNvPr id="8" name="TextBox 462">
              <a:extLst>
                <a:ext uri="{FF2B5EF4-FFF2-40B4-BE49-F238E27FC236}">
                  <a16:creationId xmlns:a16="http://schemas.microsoft.com/office/drawing/2014/main" id="{252B6612-C841-1EBF-935A-4D0282F3D50C}"/>
                </a:ext>
              </a:extLst>
            </p:cNvPr>
            <p:cNvSpPr txBox="1"/>
            <p:nvPr/>
          </p:nvSpPr>
          <p:spPr>
            <a:xfrm>
              <a:off x="10981" y="1060864"/>
              <a:ext cx="2331026" cy="622800"/>
            </a:xfrm>
            <a:prstGeom prst="rect">
              <a:avLst/>
            </a:prstGeom>
            <a:noFill/>
          </p:spPr>
          <p:txBody>
            <a:bodyPr wrap="square" rtlCol="0">
              <a:spAutoFit/>
            </a:bodyPr>
            <a:lstStyle/>
            <a:p>
              <a:pPr defTabSz="914377">
                <a:defRPr/>
              </a:pPr>
              <a:r>
                <a:rPr lang="en-US" sz="1400" b="1" dirty="0">
                  <a:solidFill>
                    <a:prstClr val="black"/>
                  </a:solidFill>
                  <a:latin typeface="Calibri" panose="020F0502020204030204"/>
                </a:rPr>
                <a:t>Afghanistan: n = 2</a:t>
              </a:r>
            </a:p>
            <a:p>
              <a:pPr defTabSz="914377">
                <a:defRPr/>
              </a:pPr>
              <a:r>
                <a:rPr lang="en-US" sz="1400" b="1" dirty="0">
                  <a:solidFill>
                    <a:prstClr val="black"/>
                  </a:solidFill>
                  <a:latin typeface="Calibri" panose="020F0502020204030204"/>
                </a:rPr>
                <a:t>Pakistan: n = 20</a:t>
              </a:r>
            </a:p>
          </p:txBody>
        </p:sp>
        <p:sp>
          <p:nvSpPr>
            <p:cNvPr id="10" name="TextBox 463">
              <a:extLst>
                <a:ext uri="{FF2B5EF4-FFF2-40B4-BE49-F238E27FC236}">
                  <a16:creationId xmlns:a16="http://schemas.microsoft.com/office/drawing/2014/main" id="{A4206C90-43B5-1DAF-4DED-382F86B0239A}"/>
                </a:ext>
              </a:extLst>
            </p:cNvPr>
            <p:cNvSpPr txBox="1"/>
            <p:nvPr/>
          </p:nvSpPr>
          <p:spPr>
            <a:xfrm>
              <a:off x="5179253" y="1092947"/>
              <a:ext cx="2032741" cy="366353"/>
            </a:xfrm>
            <a:prstGeom prst="rect">
              <a:avLst/>
            </a:prstGeom>
            <a:noFill/>
          </p:spPr>
          <p:txBody>
            <a:bodyPr wrap="square" rtlCol="0">
              <a:spAutoFit/>
            </a:bodyPr>
            <a:lstStyle/>
            <a:p>
              <a:pPr defTabSz="914377">
                <a:defRPr/>
              </a:pPr>
              <a:r>
                <a:rPr lang="en-US" sz="1400" b="1" dirty="0">
                  <a:solidFill>
                    <a:prstClr val="black"/>
                  </a:solidFill>
                  <a:latin typeface="Calibri" panose="020F0502020204030204"/>
                </a:rPr>
                <a:t>15 </a:t>
              </a:r>
              <a:r>
                <a:rPr lang="en-US" sz="1400" b="1" dirty="0" err="1">
                  <a:solidFill>
                    <a:prstClr val="black"/>
                  </a:solidFill>
                  <a:latin typeface="Calibri" panose="020F0502020204030204"/>
                </a:rPr>
                <a:t>Octobre</a:t>
              </a:r>
              <a:r>
                <a:rPr lang="en-US" sz="1400" b="1" dirty="0">
                  <a:solidFill>
                    <a:prstClr val="black"/>
                  </a:solidFill>
                  <a:latin typeface="Calibri" panose="020F0502020204030204"/>
                </a:rPr>
                <a:t> 2022</a:t>
              </a:r>
            </a:p>
          </p:txBody>
        </p:sp>
        <p:sp>
          <p:nvSpPr>
            <p:cNvPr id="13" name="TextBox 11">
              <a:extLst>
                <a:ext uri="{FF2B5EF4-FFF2-40B4-BE49-F238E27FC236}">
                  <a16:creationId xmlns:a16="http://schemas.microsoft.com/office/drawing/2014/main" id="{A38A717B-B8F0-DDE7-C01B-91D752635D1B}"/>
                </a:ext>
              </a:extLst>
            </p:cNvPr>
            <p:cNvSpPr txBox="1"/>
            <p:nvPr/>
          </p:nvSpPr>
          <p:spPr>
            <a:xfrm>
              <a:off x="4827641" y="4784829"/>
              <a:ext cx="2197616" cy="622800"/>
            </a:xfrm>
            <a:prstGeom prst="rect">
              <a:avLst/>
            </a:prstGeom>
            <a:solidFill>
              <a:schemeClr val="bg1">
                <a:lumMod val="65000"/>
              </a:schemeClr>
            </a:solidFill>
          </p:spPr>
          <p:txBody>
            <a:bodyPr wrap="square" rtlCol="0">
              <a:spAutoFit/>
            </a:bodyPr>
            <a:lstStyle/>
            <a:p>
              <a:pPr>
                <a:defRPr/>
              </a:pPr>
              <a:r>
                <a:rPr lang="en-US" sz="1400" b="1" kern="0" dirty="0">
                  <a:solidFill>
                    <a:srgbClr val="00FFFF"/>
                  </a:solidFill>
                  <a:latin typeface="Calibri" panose="020F0502020204030204" pitchFamily="34" charset="0"/>
                  <a:cs typeface="Calibri" panose="020F0502020204030204" pitchFamily="34" charset="0"/>
                </a:rPr>
                <a:t>Bleu </a:t>
              </a:r>
              <a:r>
                <a:rPr lang="en-US" sz="1400" b="1" kern="0" dirty="0" err="1">
                  <a:solidFill>
                    <a:srgbClr val="00FFFF"/>
                  </a:solidFill>
                  <a:latin typeface="Calibri" panose="020F0502020204030204" pitchFamily="34" charset="0"/>
                  <a:cs typeface="Calibri" panose="020F0502020204030204" pitchFamily="34" charset="0"/>
                </a:rPr>
                <a:t>clair</a:t>
              </a:r>
              <a:r>
                <a:rPr lang="en-US" sz="1400" b="1" kern="0" dirty="0">
                  <a:solidFill>
                    <a:srgbClr val="00FFFF"/>
                  </a:solidFill>
                  <a:latin typeface="Calibri" panose="020F0502020204030204" pitchFamily="34" charset="0"/>
                  <a:cs typeface="Calibri" panose="020F0502020204030204" pitchFamily="34" charset="0"/>
                </a:rPr>
                <a:t> = YB3A</a:t>
              </a:r>
            </a:p>
            <a:p>
              <a:pPr>
                <a:defRPr/>
              </a:pPr>
              <a:r>
                <a:rPr lang="en-US" sz="1400" b="1" kern="0" dirty="0">
                  <a:solidFill>
                    <a:srgbClr val="1909E7"/>
                  </a:solidFill>
                  <a:latin typeface="Calibri" panose="020F0502020204030204" pitchFamily="34" charset="0"/>
                  <a:cs typeface="Calibri" panose="020F0502020204030204" pitchFamily="34" charset="0"/>
                </a:rPr>
                <a:t>Bleu </a:t>
              </a:r>
              <a:r>
                <a:rPr lang="en-US" sz="1400" b="1" kern="0" dirty="0" err="1">
                  <a:solidFill>
                    <a:srgbClr val="1909E7"/>
                  </a:solidFill>
                  <a:latin typeface="Calibri" panose="020F0502020204030204" pitchFamily="34" charset="0"/>
                  <a:cs typeface="Calibri" panose="020F0502020204030204" pitchFamily="34" charset="0"/>
                </a:rPr>
                <a:t>foncé</a:t>
              </a:r>
              <a:r>
                <a:rPr lang="en-US" sz="1400" b="1" kern="0" dirty="0">
                  <a:solidFill>
                    <a:srgbClr val="1909E7"/>
                  </a:solidFill>
                  <a:latin typeface="Calibri" panose="020F0502020204030204" pitchFamily="34" charset="0"/>
                  <a:cs typeface="Calibri" panose="020F0502020204030204" pitchFamily="34" charset="0"/>
                </a:rPr>
                <a:t>” = YB3C</a:t>
              </a:r>
            </a:p>
          </p:txBody>
        </p:sp>
        <p:pic>
          <p:nvPicPr>
            <p:cNvPr id="14" name="Graphic 12">
              <a:extLst>
                <a:ext uri="{FF2B5EF4-FFF2-40B4-BE49-F238E27FC236}">
                  <a16:creationId xmlns:a16="http://schemas.microsoft.com/office/drawing/2014/main" id="{C23FCA58-D7F8-7BAB-271E-C36B824AF04E}"/>
                </a:ext>
              </a:extLst>
            </p:cNvPr>
            <p:cNvPicPr preferRelativeResize="0">
              <a:picLocks/>
            </p:cNvPicPr>
            <p:nvPr/>
          </p:nvPicPr>
          <p:blipFill>
            <a:blip r:embed="rId5">
              <a:extLst>
                <a:ext uri="{96DAC541-7B7A-43D3-8B79-37D633B846F1}">
                  <asvg:svgBlip xmlns:asvg="http://schemas.microsoft.com/office/drawing/2016/SVG/main" r:embed="rId6"/>
                </a:ext>
              </a:extLst>
            </a:blip>
            <a:stretch>
              <a:fillRect/>
            </a:stretch>
          </p:blipFill>
          <p:spPr>
            <a:xfrm flipH="1">
              <a:off x="5353116" y="4404834"/>
              <a:ext cx="132358" cy="137160"/>
            </a:xfrm>
            <a:prstGeom prst="rect">
              <a:avLst/>
            </a:prstGeom>
          </p:spPr>
        </p:pic>
        <p:sp>
          <p:nvSpPr>
            <p:cNvPr id="15" name="TextBox 13">
              <a:extLst>
                <a:ext uri="{FF2B5EF4-FFF2-40B4-BE49-F238E27FC236}">
                  <a16:creationId xmlns:a16="http://schemas.microsoft.com/office/drawing/2014/main" id="{54BD15CB-E21E-785D-6727-59611455C548}"/>
                </a:ext>
              </a:extLst>
            </p:cNvPr>
            <p:cNvSpPr txBox="1"/>
            <p:nvPr/>
          </p:nvSpPr>
          <p:spPr>
            <a:xfrm>
              <a:off x="5527289" y="4422725"/>
              <a:ext cx="480788" cy="137160"/>
            </a:xfrm>
            <a:prstGeom prst="rect">
              <a:avLst/>
            </a:prstGeom>
            <a:noFill/>
          </p:spPr>
          <p:txBody>
            <a:bodyPr wrap="none" lIns="0" tIns="0" rIns="0" bIns="0" rtlCol="0">
              <a:noAutofit/>
            </a:bodyPr>
            <a:lstStyle/>
            <a:p>
              <a:r>
                <a:rPr lang="en-US" sz="800" b="1" dirty="0">
                  <a:solidFill>
                    <a:schemeClr val="accent6"/>
                  </a:solidFill>
                  <a:latin typeface="Arial" pitchFamily="34" charset="0"/>
                  <a:cs typeface="Arial" pitchFamily="34" charset="0"/>
                </a:rPr>
                <a:t>= 1 Cas </a:t>
              </a:r>
            </a:p>
            <a:p>
              <a:endParaRPr lang="en-US" sz="800" b="1" dirty="0">
                <a:solidFill>
                  <a:schemeClr val="accent6"/>
                </a:solidFill>
                <a:latin typeface="Arial" pitchFamily="34" charset="0"/>
                <a:cs typeface="Arial" pitchFamily="34" charset="0"/>
              </a:endParaRPr>
            </a:p>
          </p:txBody>
        </p:sp>
        <p:pic>
          <p:nvPicPr>
            <p:cNvPr id="17" name="Graphic 14">
              <a:extLst>
                <a:ext uri="{FF2B5EF4-FFF2-40B4-BE49-F238E27FC236}">
                  <a16:creationId xmlns:a16="http://schemas.microsoft.com/office/drawing/2014/main" id="{339A2136-A1FF-AFB9-5EF3-FC599A80893B}"/>
                </a:ext>
              </a:extLst>
            </p:cNvPr>
            <p:cNvPicPr preferRelativeResize="0">
              <a:picLocks/>
            </p:cNvPicPr>
            <p:nvPr/>
          </p:nvPicPr>
          <p:blipFill>
            <a:blip r:embed="rId7">
              <a:extLst>
                <a:ext uri="{96DAC541-7B7A-43D3-8B79-37D633B846F1}">
                  <asvg:svgBlip xmlns:asvg="http://schemas.microsoft.com/office/drawing/2016/SVG/main" r:embed="rId8"/>
                </a:ext>
              </a:extLst>
            </a:blip>
            <a:stretch>
              <a:fillRect/>
            </a:stretch>
          </p:blipFill>
          <p:spPr>
            <a:xfrm flipH="1">
              <a:off x="2871145" y="3092048"/>
              <a:ext cx="109728" cy="137160"/>
            </a:xfrm>
            <a:prstGeom prst="rect">
              <a:avLst/>
            </a:prstGeom>
          </p:spPr>
        </p:pic>
        <p:pic>
          <p:nvPicPr>
            <p:cNvPr id="18" name="Graphic 15">
              <a:extLst>
                <a:ext uri="{FF2B5EF4-FFF2-40B4-BE49-F238E27FC236}">
                  <a16:creationId xmlns:a16="http://schemas.microsoft.com/office/drawing/2014/main" id="{70EA8FB9-AFF2-DEE4-A561-001BB9342419}"/>
                </a:ext>
              </a:extLst>
            </p:cNvPr>
            <p:cNvPicPr preferRelativeResize="0">
              <a:picLocks/>
            </p:cNvPicPr>
            <p:nvPr/>
          </p:nvPicPr>
          <p:blipFill>
            <a:blip r:embed="rId7">
              <a:extLst>
                <a:ext uri="{96DAC541-7B7A-43D3-8B79-37D633B846F1}">
                  <asvg:svgBlip xmlns:asvg="http://schemas.microsoft.com/office/drawing/2016/SVG/main" r:embed="rId8"/>
                </a:ext>
              </a:extLst>
            </a:blip>
            <a:stretch>
              <a:fillRect/>
            </a:stretch>
          </p:blipFill>
          <p:spPr>
            <a:xfrm flipH="1">
              <a:off x="3722045" y="2982876"/>
              <a:ext cx="109728" cy="137160"/>
            </a:xfrm>
            <a:prstGeom prst="rect">
              <a:avLst/>
            </a:prstGeom>
          </p:spPr>
        </p:pic>
        <p:pic>
          <p:nvPicPr>
            <p:cNvPr id="19" name="Graphic 16">
              <a:extLst>
                <a:ext uri="{FF2B5EF4-FFF2-40B4-BE49-F238E27FC236}">
                  <a16:creationId xmlns:a16="http://schemas.microsoft.com/office/drawing/2014/main" id="{E1B3E6E7-B7E8-0DD7-C43E-A018E2D2D67E}"/>
                </a:ext>
              </a:extLst>
            </p:cNvPr>
            <p:cNvPicPr preferRelativeResize="0">
              <a:picLocks/>
            </p:cNvPicPr>
            <p:nvPr/>
          </p:nvPicPr>
          <p:blipFill>
            <a:blip r:embed="rId7">
              <a:extLst>
                <a:ext uri="{96DAC541-7B7A-43D3-8B79-37D633B846F1}">
                  <asvg:svgBlip xmlns:asvg="http://schemas.microsoft.com/office/drawing/2016/SVG/main" r:embed="rId8"/>
                </a:ext>
              </a:extLst>
            </a:blip>
            <a:stretch>
              <a:fillRect/>
            </a:stretch>
          </p:blipFill>
          <p:spPr>
            <a:xfrm flipH="1">
              <a:off x="3680981" y="2994334"/>
              <a:ext cx="109728" cy="137160"/>
            </a:xfrm>
            <a:prstGeom prst="rect">
              <a:avLst/>
            </a:prstGeom>
          </p:spPr>
        </p:pic>
        <p:pic>
          <p:nvPicPr>
            <p:cNvPr id="20" name="Graphic 17">
              <a:extLst>
                <a:ext uri="{FF2B5EF4-FFF2-40B4-BE49-F238E27FC236}">
                  <a16:creationId xmlns:a16="http://schemas.microsoft.com/office/drawing/2014/main" id="{D6D2C1AD-0DFC-FF18-8B7C-43BFFE3C7982}"/>
                </a:ext>
              </a:extLst>
            </p:cNvPr>
            <p:cNvPicPr preferRelativeResize="0">
              <a:picLocks/>
            </p:cNvPicPr>
            <p:nvPr/>
          </p:nvPicPr>
          <p:blipFill>
            <a:blip r:embed="rId7">
              <a:extLst>
                <a:ext uri="{96DAC541-7B7A-43D3-8B79-37D633B846F1}">
                  <asvg:svgBlip xmlns:asvg="http://schemas.microsoft.com/office/drawing/2016/SVG/main" r:embed="rId9"/>
                </a:ext>
              </a:extLst>
            </a:blip>
            <a:stretch>
              <a:fillRect/>
            </a:stretch>
          </p:blipFill>
          <p:spPr>
            <a:xfrm flipH="1">
              <a:off x="3688954" y="3035044"/>
              <a:ext cx="132358" cy="137160"/>
            </a:xfrm>
            <a:prstGeom prst="rect">
              <a:avLst/>
            </a:prstGeom>
          </p:spPr>
        </p:pic>
        <p:pic>
          <p:nvPicPr>
            <p:cNvPr id="21" name="Graphic 18">
              <a:extLst>
                <a:ext uri="{FF2B5EF4-FFF2-40B4-BE49-F238E27FC236}">
                  <a16:creationId xmlns:a16="http://schemas.microsoft.com/office/drawing/2014/main" id="{25290113-C7A9-1351-6058-083C8C69CCE2}"/>
                </a:ext>
              </a:extLst>
            </p:cNvPr>
            <p:cNvPicPr preferRelativeResize="0">
              <a:picLocks/>
            </p:cNvPicPr>
            <p:nvPr/>
          </p:nvPicPr>
          <p:blipFill>
            <a:blip r:embed="rId7">
              <a:extLst>
                <a:ext uri="{96DAC541-7B7A-43D3-8B79-37D633B846F1}">
                  <asvg:svgBlip xmlns:asvg="http://schemas.microsoft.com/office/drawing/2016/SVG/main" r:embed="rId9"/>
                </a:ext>
              </a:extLst>
            </a:blip>
            <a:stretch>
              <a:fillRect/>
            </a:stretch>
          </p:blipFill>
          <p:spPr>
            <a:xfrm flipH="1">
              <a:off x="3635334" y="3005792"/>
              <a:ext cx="132358" cy="137160"/>
            </a:xfrm>
            <a:prstGeom prst="rect">
              <a:avLst/>
            </a:prstGeom>
          </p:spPr>
        </p:pic>
        <p:pic>
          <p:nvPicPr>
            <p:cNvPr id="22" name="Graphic 19">
              <a:extLst>
                <a:ext uri="{FF2B5EF4-FFF2-40B4-BE49-F238E27FC236}">
                  <a16:creationId xmlns:a16="http://schemas.microsoft.com/office/drawing/2014/main" id="{A1F7DC96-6DFF-7088-1034-B414B611D2BA}"/>
                </a:ext>
              </a:extLst>
            </p:cNvPr>
            <p:cNvPicPr preferRelativeResize="0">
              <a:picLocks/>
            </p:cNvPicPr>
            <p:nvPr/>
          </p:nvPicPr>
          <p:blipFill>
            <a:blip r:embed="rId7">
              <a:extLst>
                <a:ext uri="{96DAC541-7B7A-43D3-8B79-37D633B846F1}">
                  <asvg:svgBlip xmlns:asvg="http://schemas.microsoft.com/office/drawing/2016/SVG/main" r:embed="rId9"/>
                </a:ext>
              </a:extLst>
            </a:blip>
            <a:stretch>
              <a:fillRect/>
            </a:stretch>
          </p:blipFill>
          <p:spPr>
            <a:xfrm flipH="1">
              <a:off x="3643307" y="3051456"/>
              <a:ext cx="132358" cy="137160"/>
            </a:xfrm>
            <a:prstGeom prst="rect">
              <a:avLst/>
            </a:prstGeom>
          </p:spPr>
        </p:pic>
        <p:pic>
          <p:nvPicPr>
            <p:cNvPr id="23" name="Graphic 20">
              <a:extLst>
                <a:ext uri="{FF2B5EF4-FFF2-40B4-BE49-F238E27FC236}">
                  <a16:creationId xmlns:a16="http://schemas.microsoft.com/office/drawing/2014/main" id="{F421BE55-9AB5-5EA9-D052-A742BF999825}"/>
                </a:ext>
              </a:extLst>
            </p:cNvPr>
            <p:cNvPicPr preferRelativeResize="0">
              <a:picLocks/>
            </p:cNvPicPr>
            <p:nvPr/>
          </p:nvPicPr>
          <p:blipFill>
            <a:blip r:embed="rId7">
              <a:extLst>
                <a:ext uri="{96DAC541-7B7A-43D3-8B79-37D633B846F1}">
                  <asvg:svgBlip xmlns:asvg="http://schemas.microsoft.com/office/drawing/2016/SVG/main" r:embed="rId9"/>
                </a:ext>
              </a:extLst>
            </a:blip>
            <a:stretch>
              <a:fillRect/>
            </a:stretch>
          </p:blipFill>
          <p:spPr>
            <a:xfrm flipH="1">
              <a:off x="3691453" y="2980394"/>
              <a:ext cx="132358" cy="137160"/>
            </a:xfrm>
            <a:prstGeom prst="rect">
              <a:avLst/>
            </a:prstGeom>
          </p:spPr>
        </p:pic>
        <p:pic>
          <p:nvPicPr>
            <p:cNvPr id="24" name="Graphic 21">
              <a:extLst>
                <a:ext uri="{FF2B5EF4-FFF2-40B4-BE49-F238E27FC236}">
                  <a16:creationId xmlns:a16="http://schemas.microsoft.com/office/drawing/2014/main" id="{23CBDDAA-8208-6B7E-DB24-8D9C4DF7147F}"/>
                </a:ext>
              </a:extLst>
            </p:cNvPr>
            <p:cNvPicPr preferRelativeResize="0">
              <a:picLocks/>
            </p:cNvPicPr>
            <p:nvPr/>
          </p:nvPicPr>
          <p:blipFill>
            <a:blip r:embed="rId7">
              <a:extLst>
                <a:ext uri="{96DAC541-7B7A-43D3-8B79-37D633B846F1}">
                  <asvg:svgBlip xmlns:asvg="http://schemas.microsoft.com/office/drawing/2016/SVG/main" r:embed="rId9"/>
                </a:ext>
              </a:extLst>
            </a:blip>
            <a:stretch>
              <a:fillRect/>
            </a:stretch>
          </p:blipFill>
          <p:spPr>
            <a:xfrm flipH="1">
              <a:off x="3664604" y="2991852"/>
              <a:ext cx="132358" cy="137160"/>
            </a:xfrm>
            <a:prstGeom prst="rect">
              <a:avLst/>
            </a:prstGeom>
          </p:spPr>
        </p:pic>
        <p:pic>
          <p:nvPicPr>
            <p:cNvPr id="25" name="Graphic 22">
              <a:extLst>
                <a:ext uri="{FF2B5EF4-FFF2-40B4-BE49-F238E27FC236}">
                  <a16:creationId xmlns:a16="http://schemas.microsoft.com/office/drawing/2014/main" id="{3E839885-DBFA-13EE-7E3E-908C3AD88D05}"/>
                </a:ext>
              </a:extLst>
            </p:cNvPr>
            <p:cNvPicPr preferRelativeResize="0">
              <a:picLocks/>
            </p:cNvPicPr>
            <p:nvPr/>
          </p:nvPicPr>
          <p:blipFill>
            <a:blip r:embed="rId7">
              <a:extLst>
                <a:ext uri="{96DAC541-7B7A-43D3-8B79-37D633B846F1}">
                  <asvg:svgBlip xmlns:asvg="http://schemas.microsoft.com/office/drawing/2016/SVG/main" r:embed="rId9"/>
                </a:ext>
              </a:extLst>
            </a:blip>
            <a:stretch>
              <a:fillRect/>
            </a:stretch>
          </p:blipFill>
          <p:spPr>
            <a:xfrm flipH="1">
              <a:off x="3648538" y="2994186"/>
              <a:ext cx="132358" cy="137160"/>
            </a:xfrm>
            <a:prstGeom prst="rect">
              <a:avLst/>
            </a:prstGeom>
          </p:spPr>
        </p:pic>
        <p:pic>
          <p:nvPicPr>
            <p:cNvPr id="26" name="Graphic 23">
              <a:extLst>
                <a:ext uri="{FF2B5EF4-FFF2-40B4-BE49-F238E27FC236}">
                  <a16:creationId xmlns:a16="http://schemas.microsoft.com/office/drawing/2014/main" id="{D3A65D14-37F8-6BC3-5C00-E258E92E9424}"/>
                </a:ext>
              </a:extLst>
            </p:cNvPr>
            <p:cNvPicPr preferRelativeResize="0">
              <a:picLocks/>
            </p:cNvPicPr>
            <p:nvPr/>
          </p:nvPicPr>
          <p:blipFill>
            <a:blip r:embed="rId7">
              <a:extLst>
                <a:ext uri="{96DAC541-7B7A-43D3-8B79-37D633B846F1}">
                  <asvg:svgBlip xmlns:asvg="http://schemas.microsoft.com/office/drawing/2016/SVG/main" r:embed="rId9"/>
                </a:ext>
              </a:extLst>
            </a:blip>
            <a:stretch>
              <a:fillRect/>
            </a:stretch>
          </p:blipFill>
          <p:spPr>
            <a:xfrm flipH="1">
              <a:off x="3585007" y="3000749"/>
              <a:ext cx="132358" cy="137160"/>
            </a:xfrm>
            <a:prstGeom prst="rect">
              <a:avLst/>
            </a:prstGeom>
          </p:spPr>
        </p:pic>
        <p:pic>
          <p:nvPicPr>
            <p:cNvPr id="27" name="Graphic 24">
              <a:extLst>
                <a:ext uri="{FF2B5EF4-FFF2-40B4-BE49-F238E27FC236}">
                  <a16:creationId xmlns:a16="http://schemas.microsoft.com/office/drawing/2014/main" id="{E40CF62B-D8C6-3AB4-9CCC-170C8204CDF4}"/>
                </a:ext>
              </a:extLst>
            </p:cNvPr>
            <p:cNvPicPr preferRelativeResize="0">
              <a:picLocks/>
            </p:cNvPicPr>
            <p:nvPr/>
          </p:nvPicPr>
          <p:blipFill>
            <a:blip r:embed="rId7">
              <a:extLst>
                <a:ext uri="{96DAC541-7B7A-43D3-8B79-37D633B846F1}">
                  <asvg:svgBlip xmlns:asvg="http://schemas.microsoft.com/office/drawing/2016/SVG/main" r:embed="rId9"/>
                </a:ext>
              </a:extLst>
            </a:blip>
            <a:stretch>
              <a:fillRect/>
            </a:stretch>
          </p:blipFill>
          <p:spPr>
            <a:xfrm flipH="1">
              <a:off x="3652300" y="3035044"/>
              <a:ext cx="132358" cy="137160"/>
            </a:xfrm>
            <a:prstGeom prst="rect">
              <a:avLst/>
            </a:prstGeom>
          </p:spPr>
        </p:pic>
        <p:pic>
          <p:nvPicPr>
            <p:cNvPr id="28" name="Graphic 25">
              <a:extLst>
                <a:ext uri="{FF2B5EF4-FFF2-40B4-BE49-F238E27FC236}">
                  <a16:creationId xmlns:a16="http://schemas.microsoft.com/office/drawing/2014/main" id="{84437A99-FCFB-2A9B-AA7C-C29A0D4A50C9}"/>
                </a:ext>
              </a:extLst>
            </p:cNvPr>
            <p:cNvPicPr preferRelativeResize="0">
              <a:picLocks/>
            </p:cNvPicPr>
            <p:nvPr/>
          </p:nvPicPr>
          <p:blipFill>
            <a:blip r:embed="rId7">
              <a:extLst>
                <a:ext uri="{96DAC541-7B7A-43D3-8B79-37D633B846F1}">
                  <asvg:svgBlip xmlns:asvg="http://schemas.microsoft.com/office/drawing/2016/SVG/main" r:embed="rId9"/>
                </a:ext>
              </a:extLst>
            </a:blip>
            <a:stretch>
              <a:fillRect/>
            </a:stretch>
          </p:blipFill>
          <p:spPr>
            <a:xfrm flipH="1">
              <a:off x="3647036" y="3000748"/>
              <a:ext cx="132358" cy="137160"/>
            </a:xfrm>
            <a:prstGeom prst="rect">
              <a:avLst/>
            </a:prstGeom>
          </p:spPr>
        </p:pic>
        <p:pic>
          <p:nvPicPr>
            <p:cNvPr id="29" name="Graphic 26">
              <a:extLst>
                <a:ext uri="{FF2B5EF4-FFF2-40B4-BE49-F238E27FC236}">
                  <a16:creationId xmlns:a16="http://schemas.microsoft.com/office/drawing/2014/main" id="{FA1C3908-74DD-034B-A827-A19BAC8E62D6}"/>
                </a:ext>
              </a:extLst>
            </p:cNvPr>
            <p:cNvPicPr preferRelativeResize="0">
              <a:picLocks/>
            </p:cNvPicPr>
            <p:nvPr/>
          </p:nvPicPr>
          <p:blipFill>
            <a:blip r:embed="rId7">
              <a:extLst>
                <a:ext uri="{96DAC541-7B7A-43D3-8B79-37D633B846F1}">
                  <asvg:svgBlip xmlns:asvg="http://schemas.microsoft.com/office/drawing/2016/SVG/main" r:embed="rId9"/>
                </a:ext>
              </a:extLst>
            </a:blip>
            <a:stretch>
              <a:fillRect/>
            </a:stretch>
          </p:blipFill>
          <p:spPr>
            <a:xfrm flipH="1">
              <a:off x="3553627" y="3005662"/>
              <a:ext cx="132358" cy="137160"/>
            </a:xfrm>
            <a:prstGeom prst="rect">
              <a:avLst/>
            </a:prstGeom>
          </p:spPr>
        </p:pic>
        <p:pic>
          <p:nvPicPr>
            <p:cNvPr id="30" name="Graphic 27">
              <a:extLst>
                <a:ext uri="{FF2B5EF4-FFF2-40B4-BE49-F238E27FC236}">
                  <a16:creationId xmlns:a16="http://schemas.microsoft.com/office/drawing/2014/main" id="{A461839B-1534-BE18-48D0-8BBDAC883EAC}"/>
                </a:ext>
              </a:extLst>
            </p:cNvPr>
            <p:cNvPicPr preferRelativeResize="0">
              <a:picLocks/>
            </p:cNvPicPr>
            <p:nvPr/>
          </p:nvPicPr>
          <p:blipFill>
            <a:blip r:embed="rId7">
              <a:extLst>
                <a:ext uri="{96DAC541-7B7A-43D3-8B79-37D633B846F1}">
                  <asvg:svgBlip xmlns:asvg="http://schemas.microsoft.com/office/drawing/2016/SVG/main" r:embed="rId9"/>
                </a:ext>
              </a:extLst>
            </a:blip>
            <a:stretch>
              <a:fillRect/>
            </a:stretch>
          </p:blipFill>
          <p:spPr>
            <a:xfrm flipH="1">
              <a:off x="3900306" y="3103624"/>
              <a:ext cx="132358" cy="137160"/>
            </a:xfrm>
            <a:prstGeom prst="rect">
              <a:avLst/>
            </a:prstGeom>
          </p:spPr>
        </p:pic>
        <p:pic>
          <p:nvPicPr>
            <p:cNvPr id="31" name="Graphic 28">
              <a:extLst>
                <a:ext uri="{FF2B5EF4-FFF2-40B4-BE49-F238E27FC236}">
                  <a16:creationId xmlns:a16="http://schemas.microsoft.com/office/drawing/2014/main" id="{9B535561-7283-53E1-3483-6F1CA65A1315}"/>
                </a:ext>
              </a:extLst>
            </p:cNvPr>
            <p:cNvPicPr preferRelativeResize="0">
              <a:picLocks/>
            </p:cNvPicPr>
            <p:nvPr/>
          </p:nvPicPr>
          <p:blipFill>
            <a:blip r:embed="rId7">
              <a:extLst>
                <a:ext uri="{96DAC541-7B7A-43D3-8B79-37D633B846F1}">
                  <asvg:svgBlip xmlns:asvg="http://schemas.microsoft.com/office/drawing/2016/SVG/main" r:embed="rId9"/>
                </a:ext>
              </a:extLst>
            </a:blip>
            <a:stretch>
              <a:fillRect/>
            </a:stretch>
          </p:blipFill>
          <p:spPr>
            <a:xfrm flipH="1">
              <a:off x="3590392" y="3039026"/>
              <a:ext cx="132358" cy="137160"/>
            </a:xfrm>
            <a:prstGeom prst="rect">
              <a:avLst/>
            </a:prstGeom>
          </p:spPr>
        </p:pic>
        <p:pic>
          <p:nvPicPr>
            <p:cNvPr id="32" name="Graphic 1">
              <a:extLst>
                <a:ext uri="{FF2B5EF4-FFF2-40B4-BE49-F238E27FC236}">
                  <a16:creationId xmlns:a16="http://schemas.microsoft.com/office/drawing/2014/main" id="{A440A328-D167-CB8E-D060-A109B1B0257F}"/>
                </a:ext>
              </a:extLst>
            </p:cNvPr>
            <p:cNvPicPr preferRelativeResize="0">
              <a:picLocks/>
            </p:cNvPicPr>
            <p:nvPr/>
          </p:nvPicPr>
          <p:blipFill>
            <a:blip r:embed="rId10">
              <a:extLst>
                <a:ext uri="{96DAC541-7B7A-43D3-8B79-37D633B846F1}">
                  <asvg:svgBlip xmlns:asvg="http://schemas.microsoft.com/office/drawing/2016/SVG/main" r:embed="rId11"/>
                </a:ext>
              </a:extLst>
            </a:blip>
            <a:stretch>
              <a:fillRect/>
            </a:stretch>
          </p:blipFill>
          <p:spPr>
            <a:xfrm flipH="1">
              <a:off x="3675852" y="2934724"/>
              <a:ext cx="132358" cy="137160"/>
            </a:xfrm>
            <a:prstGeom prst="rect">
              <a:avLst/>
            </a:prstGeom>
          </p:spPr>
        </p:pic>
        <p:pic>
          <p:nvPicPr>
            <p:cNvPr id="33" name="Graphic 2">
              <a:extLst>
                <a:ext uri="{FF2B5EF4-FFF2-40B4-BE49-F238E27FC236}">
                  <a16:creationId xmlns:a16="http://schemas.microsoft.com/office/drawing/2014/main" id="{74199DD9-3FFC-8F6D-B20C-D12459D0ED27}"/>
                </a:ext>
              </a:extLst>
            </p:cNvPr>
            <p:cNvPicPr preferRelativeResize="0">
              <a:picLocks/>
            </p:cNvPicPr>
            <p:nvPr/>
          </p:nvPicPr>
          <p:blipFill>
            <a:blip r:embed="rId10">
              <a:extLst>
                <a:ext uri="{96DAC541-7B7A-43D3-8B79-37D633B846F1}">
                  <asvg:svgBlip xmlns:asvg="http://schemas.microsoft.com/office/drawing/2016/SVG/main" r:embed="rId11"/>
                </a:ext>
              </a:extLst>
            </a:blip>
            <a:stretch>
              <a:fillRect/>
            </a:stretch>
          </p:blipFill>
          <p:spPr>
            <a:xfrm flipH="1">
              <a:off x="3603542" y="2970446"/>
              <a:ext cx="132358" cy="137160"/>
            </a:xfrm>
            <a:prstGeom prst="rect">
              <a:avLst/>
            </a:prstGeom>
          </p:spPr>
        </p:pic>
        <p:pic>
          <p:nvPicPr>
            <p:cNvPr id="34" name="Graphic 3">
              <a:extLst>
                <a:ext uri="{FF2B5EF4-FFF2-40B4-BE49-F238E27FC236}">
                  <a16:creationId xmlns:a16="http://schemas.microsoft.com/office/drawing/2014/main" id="{B1EF4D41-ABA7-FBE2-7743-56C10AEA1306}"/>
                </a:ext>
              </a:extLst>
            </p:cNvPr>
            <p:cNvPicPr preferRelativeResize="0">
              <a:picLocks/>
            </p:cNvPicPr>
            <p:nvPr/>
          </p:nvPicPr>
          <p:blipFill>
            <a:blip r:embed="rId10">
              <a:extLst>
                <a:ext uri="{96DAC541-7B7A-43D3-8B79-37D633B846F1}">
                  <asvg:svgBlip xmlns:asvg="http://schemas.microsoft.com/office/drawing/2016/SVG/main" r:embed="rId11"/>
                </a:ext>
              </a:extLst>
            </a:blip>
            <a:stretch>
              <a:fillRect/>
            </a:stretch>
          </p:blipFill>
          <p:spPr>
            <a:xfrm flipH="1">
              <a:off x="3857562" y="3116434"/>
              <a:ext cx="132358" cy="137160"/>
            </a:xfrm>
            <a:prstGeom prst="rect">
              <a:avLst/>
            </a:prstGeom>
          </p:spPr>
        </p:pic>
        <p:pic>
          <p:nvPicPr>
            <p:cNvPr id="35" name="Graphic 4">
              <a:extLst>
                <a:ext uri="{FF2B5EF4-FFF2-40B4-BE49-F238E27FC236}">
                  <a16:creationId xmlns:a16="http://schemas.microsoft.com/office/drawing/2014/main" id="{5DA2E5EE-126B-E7AF-B54F-22326D06AE3F}"/>
                </a:ext>
              </a:extLst>
            </p:cNvPr>
            <p:cNvPicPr preferRelativeResize="0">
              <a:picLocks/>
            </p:cNvPicPr>
            <p:nvPr/>
          </p:nvPicPr>
          <p:blipFill>
            <a:blip r:embed="rId10">
              <a:extLst>
                <a:ext uri="{96DAC541-7B7A-43D3-8B79-37D633B846F1}">
                  <asvg:svgBlip xmlns:asvg="http://schemas.microsoft.com/office/drawing/2016/SVG/main" r:embed="rId11"/>
                </a:ext>
              </a:extLst>
            </a:blip>
            <a:stretch>
              <a:fillRect/>
            </a:stretch>
          </p:blipFill>
          <p:spPr>
            <a:xfrm flipH="1">
              <a:off x="3640598" y="3016612"/>
              <a:ext cx="132358" cy="137160"/>
            </a:xfrm>
            <a:prstGeom prst="rect">
              <a:avLst/>
            </a:prstGeom>
          </p:spPr>
        </p:pic>
        <p:pic>
          <p:nvPicPr>
            <p:cNvPr id="36" name="Graphic 29">
              <a:extLst>
                <a:ext uri="{FF2B5EF4-FFF2-40B4-BE49-F238E27FC236}">
                  <a16:creationId xmlns:a16="http://schemas.microsoft.com/office/drawing/2014/main" id="{2DBFFC94-506C-F87D-9EFA-421360577C10}"/>
                </a:ext>
              </a:extLst>
            </p:cNvPr>
            <p:cNvPicPr preferRelativeResize="0">
              <a:picLocks/>
            </p:cNvPicPr>
            <p:nvPr/>
          </p:nvPicPr>
          <p:blipFill>
            <a:blip r:embed="rId12">
              <a:extLst>
                <a:ext uri="{96DAC541-7B7A-43D3-8B79-37D633B846F1}">
                  <asvg:svgBlip xmlns:asvg="http://schemas.microsoft.com/office/drawing/2016/SVG/main" r:embed="rId13"/>
                </a:ext>
              </a:extLst>
            </a:blip>
            <a:stretch>
              <a:fillRect/>
            </a:stretch>
          </p:blipFill>
          <p:spPr>
            <a:xfrm flipH="1">
              <a:off x="3937914" y="2256618"/>
              <a:ext cx="132358" cy="137160"/>
            </a:xfrm>
            <a:prstGeom prst="rect">
              <a:avLst/>
            </a:prstGeom>
          </p:spPr>
        </p:pic>
        <p:pic>
          <p:nvPicPr>
            <p:cNvPr id="37" name="Graphic 447">
              <a:extLst>
                <a:ext uri="{FF2B5EF4-FFF2-40B4-BE49-F238E27FC236}">
                  <a16:creationId xmlns:a16="http://schemas.microsoft.com/office/drawing/2014/main" id="{CD1F3DEC-8647-7DDB-2800-13983244DCF5}"/>
                </a:ext>
              </a:extLst>
            </p:cNvPr>
            <p:cNvPicPr preferRelativeResize="0">
              <a:picLocks/>
            </p:cNvPicPr>
            <p:nvPr/>
          </p:nvPicPr>
          <p:blipFill>
            <a:blip r:embed="rId7">
              <a:extLst>
                <a:ext uri="{96DAC541-7B7A-43D3-8B79-37D633B846F1}">
                  <asvg:svgBlip xmlns:asvg="http://schemas.microsoft.com/office/drawing/2016/SVG/main" r:embed="rId9"/>
                </a:ext>
              </a:extLst>
            </a:blip>
            <a:stretch>
              <a:fillRect/>
            </a:stretch>
          </p:blipFill>
          <p:spPr>
            <a:xfrm flipH="1">
              <a:off x="3532092" y="3122006"/>
              <a:ext cx="132358" cy="137160"/>
            </a:xfrm>
            <a:prstGeom prst="rect">
              <a:avLst/>
            </a:prstGeom>
          </p:spPr>
        </p:pic>
        <p:pic>
          <p:nvPicPr>
            <p:cNvPr id="38" name="Graphic 5">
              <a:extLst>
                <a:ext uri="{FF2B5EF4-FFF2-40B4-BE49-F238E27FC236}">
                  <a16:creationId xmlns:a16="http://schemas.microsoft.com/office/drawing/2014/main" id="{AE2F3FF4-8792-F380-4404-510E5C1647E1}"/>
                </a:ext>
              </a:extLst>
            </p:cNvPr>
            <p:cNvPicPr preferRelativeResize="0">
              <a:picLocks/>
            </p:cNvPicPr>
            <p:nvPr/>
          </p:nvPicPr>
          <p:blipFill>
            <a:blip r:embed="rId7">
              <a:extLst>
                <a:ext uri="{96DAC541-7B7A-43D3-8B79-37D633B846F1}">
                  <asvg:svgBlip xmlns:asvg="http://schemas.microsoft.com/office/drawing/2016/SVG/main" r:embed="rId9"/>
                </a:ext>
              </a:extLst>
            </a:blip>
            <a:stretch>
              <a:fillRect/>
            </a:stretch>
          </p:blipFill>
          <p:spPr>
            <a:xfrm flipH="1">
              <a:off x="3614198" y="2969865"/>
              <a:ext cx="132358" cy="137160"/>
            </a:xfrm>
            <a:prstGeom prst="rect">
              <a:avLst/>
            </a:prstGeom>
          </p:spPr>
        </p:pic>
      </p:grpSp>
      <p:pic>
        <p:nvPicPr>
          <p:cNvPr id="2" name="Image 1">
            <a:extLst>
              <a:ext uri="{FF2B5EF4-FFF2-40B4-BE49-F238E27FC236}">
                <a16:creationId xmlns:a16="http://schemas.microsoft.com/office/drawing/2014/main" id="{EEB1B42D-7D8B-6166-9CBC-93CEC7C7B1F5}"/>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604800" y="0"/>
            <a:ext cx="2580167" cy="1003398"/>
          </a:xfrm>
          <a:prstGeom prst="rect">
            <a:avLst/>
          </a:prstGeom>
        </p:spPr>
      </p:pic>
    </p:spTree>
    <p:extLst>
      <p:ext uri="{BB962C8B-B14F-4D97-AF65-F5344CB8AC3E}">
        <p14:creationId xmlns:p14="http://schemas.microsoft.com/office/powerpoint/2010/main" val="3753766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eleteit">
            <a:extLst>
              <a:ext uri="{FF2B5EF4-FFF2-40B4-BE49-F238E27FC236}">
                <a16:creationId xmlns:a16="http://schemas.microsoft.com/office/drawing/2014/main" id="{3D751F77-42C7-47DD-B6DA-0C8BE469D16F}"/>
              </a:ext>
            </a:extLst>
          </p:cNvPr>
          <p:cNvPicPr>
            <a:picLocks/>
          </p:cNvPicPr>
          <p:nvPr/>
        </p:nvPicPr>
        <p:blipFill>
          <a:blip r:embed="rId3"/>
          <a:stretch>
            <a:fillRect/>
          </a:stretch>
        </p:blipFill>
        <p:spPr>
          <a:xfrm>
            <a:off x="216195" y="85968"/>
            <a:ext cx="11662367" cy="6511865"/>
          </a:xfrm>
          <a:prstGeom prst="rect">
            <a:avLst/>
          </a:prstGeom>
        </p:spPr>
      </p:pic>
      <p:grpSp>
        <p:nvGrpSpPr>
          <p:cNvPr id="10" name="Groupe 9">
            <a:extLst>
              <a:ext uri="{FF2B5EF4-FFF2-40B4-BE49-F238E27FC236}">
                <a16:creationId xmlns:a16="http://schemas.microsoft.com/office/drawing/2014/main" id="{71A5668B-E2D9-325D-134F-D4097D82B248}"/>
              </a:ext>
            </a:extLst>
          </p:cNvPr>
          <p:cNvGrpSpPr/>
          <p:nvPr/>
        </p:nvGrpSpPr>
        <p:grpSpPr>
          <a:xfrm>
            <a:off x="-100009" y="2259680"/>
            <a:ext cx="4752574" cy="2501194"/>
            <a:chOff x="3400675" y="3868142"/>
            <a:chExt cx="4752574" cy="2501194"/>
          </a:xfrm>
        </p:grpSpPr>
        <p:sp>
          <p:nvSpPr>
            <p:cNvPr id="14" name="Rectangle 13">
              <a:extLst>
                <a:ext uri="{FF2B5EF4-FFF2-40B4-BE49-F238E27FC236}">
                  <a16:creationId xmlns:a16="http://schemas.microsoft.com/office/drawing/2014/main" id="{166E5757-07FF-4F44-B11E-6FCF4C69BE41}"/>
                </a:ext>
              </a:extLst>
            </p:cNvPr>
            <p:cNvSpPr/>
            <p:nvPr/>
          </p:nvSpPr>
          <p:spPr>
            <a:xfrm>
              <a:off x="3400675" y="3868142"/>
              <a:ext cx="4752574" cy="250119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Rectangle 2">
              <a:extLst>
                <a:ext uri="{FF2B5EF4-FFF2-40B4-BE49-F238E27FC236}">
                  <a16:creationId xmlns:a16="http://schemas.microsoft.com/office/drawing/2014/main" id="{15D4BA48-E083-744A-AF05-A59443522C28}"/>
                </a:ext>
              </a:extLst>
            </p:cNvPr>
            <p:cNvSpPr txBox="1">
              <a:spLocks noChangeArrowheads="1"/>
            </p:cNvSpPr>
            <p:nvPr/>
          </p:nvSpPr>
          <p:spPr>
            <a:xfrm>
              <a:off x="3664037" y="3885231"/>
              <a:ext cx="4225849" cy="2255608"/>
            </a:xfrm>
            <a:prstGeom prst="rect">
              <a:avLst/>
            </a:prstGeom>
          </p:spPr>
          <p:txBody>
            <a:bodyPr vert="horz" wrap="square" lIns="0" tIns="0" rIns="0" bIns="0" rtlCol="0" anchor="ctr">
              <a:noAutofit/>
            </a:bodyPr>
            <a:lst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itchFamily="34" charset="0"/>
                </a:defRPr>
              </a:lvl2pPr>
              <a:lvl3pPr algn="ctr" defTabSz="457200" rtl="0" eaLnBrk="0" fontAlgn="base" hangingPunct="0">
                <a:spcBef>
                  <a:spcPct val="0"/>
                </a:spcBef>
                <a:spcAft>
                  <a:spcPct val="0"/>
                </a:spcAft>
                <a:defRPr sz="4400">
                  <a:solidFill>
                    <a:schemeClr val="tx1"/>
                  </a:solidFill>
                  <a:latin typeface="Calibri" pitchFamily="34" charset="0"/>
                </a:defRPr>
              </a:lvl3pPr>
              <a:lvl4pPr algn="ctr" defTabSz="457200" rtl="0" eaLnBrk="0" fontAlgn="base" hangingPunct="0">
                <a:spcBef>
                  <a:spcPct val="0"/>
                </a:spcBef>
                <a:spcAft>
                  <a:spcPct val="0"/>
                </a:spcAft>
                <a:defRPr sz="4400">
                  <a:solidFill>
                    <a:schemeClr val="tx1"/>
                  </a:solidFill>
                  <a:latin typeface="Calibri" pitchFamily="34" charset="0"/>
                </a:defRPr>
              </a:lvl4pPr>
              <a:lvl5pPr algn="ctr" defTabSz="457200" rtl="0" eaLnBrk="0" fontAlgn="base" hangingPunct="0">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a:lstStyle>
            <a:p>
              <a:pPr marL="0" marR="0" lvl="0" indent="0" algn="l" defTabSz="914400" rtl="0" eaLnBrk="1" fontAlgn="base" latinLnBrk="0" hangingPunct="1">
                <a:lnSpc>
                  <a:spcPts val="3400"/>
                </a:lnSpc>
                <a:spcBef>
                  <a:spcPct val="0"/>
                </a:spcBef>
                <a:spcAft>
                  <a:spcPct val="0"/>
                </a:spcAft>
                <a:buClrTx/>
                <a:buSzTx/>
                <a:buFontTx/>
                <a:buNone/>
                <a:tabLst/>
                <a:defRPr/>
              </a:pPr>
              <a:r>
                <a:rPr kumimoji="0" lang="fr-FR" sz="2400" b="1" i="0" u="none" strike="noStrike" kern="1200" cap="none" spc="0" normalizeH="0" baseline="0" noProof="0" dirty="0">
                  <a:ln>
                    <a:noFill/>
                  </a:ln>
                  <a:solidFill>
                    <a:schemeClr val="bg1"/>
                  </a:solidFill>
                  <a:effectLst/>
                  <a:uLnTx/>
                  <a:uFillTx/>
                  <a:latin typeface="Calibri"/>
                  <a:ea typeface="+mj-ea"/>
                  <a:cs typeface="+mj-cs"/>
                </a:rPr>
                <a:t>Cas de polio </a:t>
              </a:r>
              <a:r>
                <a:rPr lang="fr-FR" sz="2400" b="1" dirty="0">
                  <a:solidFill>
                    <a:schemeClr val="bg1"/>
                  </a:solidFill>
                  <a:latin typeface="Calibri"/>
                </a:rPr>
                <a:t>- </a:t>
              </a:r>
              <a:r>
                <a:rPr kumimoji="0" lang="fr-FR" sz="2400" b="1" i="0" u="none" strike="noStrike" kern="1200" cap="none" spc="0" normalizeH="0" baseline="0" noProof="0" dirty="0">
                  <a:ln>
                    <a:noFill/>
                  </a:ln>
                  <a:solidFill>
                    <a:schemeClr val="bg1"/>
                  </a:solidFill>
                  <a:effectLst/>
                  <a:uLnTx/>
                  <a:uFillTx/>
                  <a:latin typeface="Calibri"/>
                  <a:ea typeface="+mj-ea"/>
                  <a:cs typeface="+mj-cs"/>
                </a:rPr>
                <a:t>6 derniers mois </a:t>
              </a:r>
            </a:p>
            <a:p>
              <a:pPr marL="457200" marR="0" lvl="0" indent="-457200" algn="l" defTabSz="914400" rtl="0" eaLnBrk="1" fontAlgn="base" latinLnBrk="0" hangingPunct="1">
                <a:lnSpc>
                  <a:spcPts val="3400"/>
                </a:lnSpc>
                <a:spcBef>
                  <a:spcPct val="0"/>
                </a:spcBef>
                <a:spcAft>
                  <a:spcPct val="0"/>
                </a:spcAft>
                <a:buClr>
                  <a:srgbClr val="FF0000"/>
                </a:buClr>
                <a:buSzPct val="160000"/>
                <a:buFont typeface="Arial" panose="020B0604020202020204" pitchFamily="34" charset="0"/>
                <a:buChar char="•"/>
                <a:tabLst/>
                <a:defRPr/>
              </a:pPr>
              <a:r>
                <a:rPr kumimoji="0" lang="fr-FR" sz="1800" i="0" u="none" strike="noStrike" kern="1200" cap="none" spc="0" normalizeH="0" baseline="0" noProof="0" dirty="0">
                  <a:ln>
                    <a:noFill/>
                  </a:ln>
                  <a:solidFill>
                    <a:schemeClr val="bg1"/>
                  </a:solidFill>
                  <a:effectLst/>
                  <a:uLnTx/>
                  <a:uFillTx/>
                  <a:latin typeface="Calibri"/>
                  <a:ea typeface="+mj-ea"/>
                  <a:cs typeface="+mj-cs"/>
                </a:rPr>
                <a:t>Virus Sauvage </a:t>
              </a:r>
            </a:p>
            <a:p>
              <a:pPr marL="457200" indent="-457200" algn="l" defTabSz="914400" eaLnBrk="1" hangingPunct="1">
                <a:buClr>
                  <a:srgbClr val="00B050"/>
                </a:buClr>
                <a:buSzPct val="160000"/>
                <a:buFont typeface="Arial" panose="020B0604020202020204" pitchFamily="34" charset="0"/>
                <a:buChar char="•"/>
                <a:defRPr/>
              </a:pPr>
              <a:r>
                <a:rPr lang="fr-FR" sz="1800" dirty="0">
                  <a:solidFill>
                    <a:schemeClr val="bg1"/>
                  </a:solidFill>
                  <a:latin typeface="Calibri"/>
                </a:rPr>
                <a:t>Mutations dérivées de la souche vaccinale de type 2 </a:t>
              </a:r>
            </a:p>
            <a:p>
              <a:pPr marL="457200" indent="-457200" algn="l" defTabSz="914400" eaLnBrk="1" hangingPunct="1">
                <a:buClr>
                  <a:srgbClr val="FFC000"/>
                </a:buClr>
                <a:buSzPct val="160000"/>
                <a:buFont typeface="Arial" panose="020B0604020202020204" pitchFamily="34" charset="0"/>
                <a:buChar char="•"/>
                <a:defRPr/>
              </a:pPr>
              <a:r>
                <a:rPr lang="fr-FR" sz="1800" dirty="0">
                  <a:solidFill>
                    <a:schemeClr val="bg1"/>
                  </a:solidFill>
                  <a:latin typeface="Calibri"/>
                </a:rPr>
                <a:t>Virus circulant dérivés de la souche vaccinale de type 1</a:t>
              </a:r>
            </a:p>
          </p:txBody>
        </p:sp>
      </p:grpSp>
      <p:sp>
        <p:nvSpPr>
          <p:cNvPr id="11" name="Date Placeholder 3">
            <a:extLst>
              <a:ext uri="{FF2B5EF4-FFF2-40B4-BE49-F238E27FC236}">
                <a16:creationId xmlns:a16="http://schemas.microsoft.com/office/drawing/2014/main" id="{4186F442-72F3-4ED8-A2FD-5D6D710C8B6B}"/>
              </a:ext>
            </a:extLst>
          </p:cNvPr>
          <p:cNvSpPr txBox="1">
            <a:spLocks/>
          </p:cNvSpPr>
          <p:nvPr/>
        </p:nvSpPr>
        <p:spPr bwMode="auto">
          <a:xfrm>
            <a:off x="9444879" y="6604268"/>
            <a:ext cx="2769404" cy="250825"/>
          </a:xfrm>
          <a:prstGeom prst="rect">
            <a:avLst/>
          </a:prstGeom>
          <a:noFill/>
        </p:spPr>
        <p:txBody>
          <a:bodyPr numCol="1">
            <a:prstTxWarp prst="textNoShape">
              <a:avLst/>
            </a:prstTxWarp>
          </a:bodyPr>
          <a:lstStyle>
            <a:defPPr>
              <a:defRPr lang="en-US"/>
            </a:defPPr>
            <a:lvl1pPr marL="0" algn="l" defTabSz="914400" rtl="0" eaLnBrk="0" latinLnBrk="0" hangingPunct="0">
              <a:lnSpc>
                <a:spcPct val="90000"/>
              </a:lnSpc>
              <a:spcBef>
                <a:spcPts val="1000"/>
              </a:spcBef>
              <a:buSzPct val="100000"/>
              <a:buFont typeface="Arial" pitchFamily="34" charset="0"/>
              <a:buChar char="•"/>
              <a:defRPr sz="2800" kern="1200">
                <a:solidFill>
                  <a:srgbClr val="000000"/>
                </a:solidFill>
                <a:latin typeface="Calibri" pitchFamily="34" charset="0"/>
                <a:ea typeface="+mn-ea"/>
                <a:cs typeface="+mn-cs"/>
              </a:defRPr>
            </a:lvl1pPr>
            <a:lvl2pPr marL="740661" indent="-284864" algn="l" defTabSz="914400" rtl="0" eaLnBrk="0" latinLnBrk="0" hangingPunct="0">
              <a:lnSpc>
                <a:spcPct val="90000"/>
              </a:lnSpc>
              <a:spcBef>
                <a:spcPts val="500"/>
              </a:spcBef>
              <a:buSzPct val="100000"/>
              <a:buFont typeface="Arial" pitchFamily="34" charset="0"/>
              <a:buChar char="•"/>
              <a:defRPr sz="2300" kern="1200">
                <a:solidFill>
                  <a:srgbClr val="000000"/>
                </a:solidFill>
                <a:latin typeface="Calibri" pitchFamily="34" charset="0"/>
                <a:ea typeface="+mn-ea"/>
                <a:cs typeface="+mn-cs"/>
              </a:defRPr>
            </a:lvl2pPr>
            <a:lvl3pPr marL="1139488" indent="-227895" algn="l" defTabSz="914400" rtl="0" eaLnBrk="0" latinLnBrk="0" hangingPunct="0">
              <a:lnSpc>
                <a:spcPct val="90000"/>
              </a:lnSpc>
              <a:spcBef>
                <a:spcPts val="500"/>
              </a:spcBef>
              <a:buSzPct val="100000"/>
              <a:buFont typeface="Arial" pitchFamily="34" charset="0"/>
              <a:buChar char="•"/>
              <a:defRPr sz="2000" kern="1200">
                <a:solidFill>
                  <a:srgbClr val="000000"/>
                </a:solidFill>
                <a:latin typeface="Calibri" pitchFamily="34" charset="0"/>
                <a:ea typeface="+mn-ea"/>
                <a:cs typeface="+mn-cs"/>
              </a:defRPr>
            </a:lvl3pPr>
            <a:lvl4pPr marL="1595270" indent="-227895" algn="l" defTabSz="914400" rtl="0" eaLnBrk="0" latinLnBrk="0" hangingPunct="0">
              <a:lnSpc>
                <a:spcPct val="90000"/>
              </a:lnSpc>
              <a:spcBef>
                <a:spcPts val="500"/>
              </a:spcBef>
              <a:buSzPct val="100000"/>
              <a:buFont typeface="Arial" pitchFamily="34" charset="0"/>
              <a:buChar char="•"/>
              <a:defRPr sz="1800" kern="1200">
                <a:solidFill>
                  <a:srgbClr val="000000"/>
                </a:solidFill>
                <a:latin typeface="Calibri" pitchFamily="34" charset="0"/>
                <a:ea typeface="+mn-ea"/>
                <a:cs typeface="+mn-cs"/>
              </a:defRPr>
            </a:lvl4pPr>
            <a:lvl5pPr marL="2051067" indent="-227895" algn="l" defTabSz="914400" rtl="0" eaLnBrk="0" latinLnBrk="0" hangingPunct="0">
              <a:lnSpc>
                <a:spcPct val="90000"/>
              </a:lnSpc>
              <a:spcBef>
                <a:spcPts val="500"/>
              </a:spcBef>
              <a:buSzPct val="100000"/>
              <a:buFont typeface="Arial" pitchFamily="34" charset="0"/>
              <a:buChar char="•"/>
              <a:defRPr sz="1800" kern="1200">
                <a:solidFill>
                  <a:srgbClr val="000000"/>
                </a:solidFill>
                <a:latin typeface="Calibri" pitchFamily="34" charset="0"/>
                <a:ea typeface="+mn-ea"/>
                <a:cs typeface="+mn-cs"/>
              </a:defRPr>
            </a:lvl5pPr>
            <a:lvl6pPr marL="2506859" indent="-227895" algn="l" defTabSz="914400" rtl="0" eaLnBrk="0" fontAlgn="base" latinLnBrk="0" hangingPunct="0">
              <a:lnSpc>
                <a:spcPct val="90000"/>
              </a:lnSpc>
              <a:spcBef>
                <a:spcPts val="500"/>
              </a:spcBef>
              <a:spcAft>
                <a:spcPct val="0"/>
              </a:spcAft>
              <a:buSzPct val="100000"/>
              <a:buFont typeface="Arial" pitchFamily="34" charset="0"/>
              <a:buChar char="•"/>
              <a:defRPr sz="1800" kern="1200">
                <a:solidFill>
                  <a:srgbClr val="000000"/>
                </a:solidFill>
                <a:latin typeface="Calibri" pitchFamily="34" charset="0"/>
                <a:ea typeface="+mn-ea"/>
                <a:cs typeface="+mn-cs"/>
              </a:defRPr>
            </a:lvl6pPr>
            <a:lvl7pPr marL="2962647" indent="-227895" algn="l" defTabSz="914400" rtl="0" eaLnBrk="0" fontAlgn="base" latinLnBrk="0" hangingPunct="0">
              <a:lnSpc>
                <a:spcPct val="90000"/>
              </a:lnSpc>
              <a:spcBef>
                <a:spcPts val="500"/>
              </a:spcBef>
              <a:spcAft>
                <a:spcPct val="0"/>
              </a:spcAft>
              <a:buSzPct val="100000"/>
              <a:buFont typeface="Arial" pitchFamily="34" charset="0"/>
              <a:buChar char="•"/>
              <a:defRPr sz="1800" kern="1200">
                <a:solidFill>
                  <a:srgbClr val="000000"/>
                </a:solidFill>
                <a:latin typeface="Calibri" pitchFamily="34" charset="0"/>
                <a:ea typeface="+mn-ea"/>
                <a:cs typeface="+mn-cs"/>
              </a:defRPr>
            </a:lvl7pPr>
            <a:lvl8pPr marL="3418441" indent="-227895" algn="l" defTabSz="914400" rtl="0" eaLnBrk="0" fontAlgn="base" latinLnBrk="0" hangingPunct="0">
              <a:lnSpc>
                <a:spcPct val="90000"/>
              </a:lnSpc>
              <a:spcBef>
                <a:spcPts val="500"/>
              </a:spcBef>
              <a:spcAft>
                <a:spcPct val="0"/>
              </a:spcAft>
              <a:buSzPct val="100000"/>
              <a:buFont typeface="Arial" pitchFamily="34" charset="0"/>
              <a:buChar char="•"/>
              <a:defRPr sz="1800" kern="1200">
                <a:solidFill>
                  <a:srgbClr val="000000"/>
                </a:solidFill>
                <a:latin typeface="Calibri" pitchFamily="34" charset="0"/>
                <a:ea typeface="+mn-ea"/>
                <a:cs typeface="+mn-cs"/>
              </a:defRPr>
            </a:lvl8pPr>
            <a:lvl9pPr marL="3874237" indent="-227895" algn="l" defTabSz="914400" rtl="0" eaLnBrk="0" fontAlgn="base" latinLnBrk="0" hangingPunct="0">
              <a:lnSpc>
                <a:spcPct val="90000"/>
              </a:lnSpc>
              <a:spcBef>
                <a:spcPts val="500"/>
              </a:spcBef>
              <a:spcAft>
                <a:spcPct val="0"/>
              </a:spcAft>
              <a:buSzPct val="100000"/>
              <a:buFont typeface="Arial" pitchFamily="34" charset="0"/>
              <a:buChar char="•"/>
              <a:defRPr sz="1800" kern="1200">
                <a:solidFill>
                  <a:srgbClr val="000000"/>
                </a:solidFill>
                <a:latin typeface="Calibri" pitchFamily="34" charset="0"/>
                <a:ea typeface="+mn-ea"/>
                <a:cs typeface="+mn-cs"/>
              </a:defRPr>
            </a:lvl9pPr>
          </a:lstStyle>
          <a:p>
            <a:pPr algn="r" eaLnBrk="1" fontAlgn="base" hangingPunct="1">
              <a:lnSpc>
                <a:spcPct val="100000"/>
              </a:lnSpc>
              <a:spcBef>
                <a:spcPct val="0"/>
              </a:spcBef>
              <a:spcAft>
                <a:spcPct val="0"/>
              </a:spcAft>
              <a:buSzTx/>
              <a:buFontTx/>
              <a:buNone/>
              <a:defRPr/>
            </a:pPr>
            <a:r>
              <a:rPr lang="en-GB" altLang="fr-FR" sz="1200" b="1" dirty="0" err="1">
                <a:solidFill>
                  <a:schemeClr val="bg1"/>
                </a:solidFill>
                <a:cs typeface="Calibri" pitchFamily="34" charset="0"/>
              </a:rPr>
              <a:t>Données</a:t>
            </a:r>
            <a:r>
              <a:rPr lang="en-GB" altLang="fr-FR" sz="1200" b="1" dirty="0">
                <a:solidFill>
                  <a:schemeClr val="bg1"/>
                </a:solidFill>
                <a:cs typeface="Calibri" pitchFamily="34" charset="0"/>
              </a:rPr>
              <a:t> OMS au  11 </a:t>
            </a:r>
            <a:r>
              <a:rPr lang="en-GB" altLang="fr-FR" sz="1200" b="1" dirty="0" err="1">
                <a:solidFill>
                  <a:schemeClr val="bg1"/>
                </a:solidFill>
                <a:cs typeface="Calibri" pitchFamily="34" charset="0"/>
              </a:rPr>
              <a:t>Octobre</a:t>
            </a:r>
            <a:r>
              <a:rPr lang="en-GB" altLang="fr-FR" sz="1200" b="1" dirty="0">
                <a:solidFill>
                  <a:schemeClr val="bg1"/>
                </a:solidFill>
                <a:cs typeface="Calibri" pitchFamily="34" charset="0"/>
              </a:rPr>
              <a:t> 2022</a:t>
            </a:r>
          </a:p>
        </p:txBody>
      </p:sp>
      <p:sp>
        <p:nvSpPr>
          <p:cNvPr id="8" name="Espace réservé du numéro de diapositive 3">
            <a:extLst>
              <a:ext uri="{FF2B5EF4-FFF2-40B4-BE49-F238E27FC236}">
                <a16:creationId xmlns:a16="http://schemas.microsoft.com/office/drawing/2014/main" id="{BD30FDD0-50E4-4D37-A3A4-CC0217937F28}"/>
              </a:ext>
            </a:extLst>
          </p:cNvPr>
          <p:cNvSpPr txBox="1">
            <a:spLocks/>
          </p:cNvSpPr>
          <p:nvPr/>
        </p:nvSpPr>
        <p:spPr>
          <a:xfrm>
            <a:off x="3" y="6604000"/>
            <a:ext cx="2370667" cy="254000"/>
          </a:xfrm>
          <a:prstGeom prst="rect">
            <a:avLst/>
          </a:prstGeom>
        </p:spPr>
        <p:txBody>
          <a:bodyPr vert="horz" lIns="91440" tIns="45720" rIns="91440" bIns="45720" rtlCol="0" anchor="ctr"/>
          <a:lstStyle>
            <a:defPPr>
              <a:defRPr lang="en-US"/>
            </a:defPPr>
            <a:lvl1pPr algn="r" defTabSz="457200" fontAlgn="auto">
              <a:spcBef>
                <a:spcPts val="0"/>
              </a:spcBef>
              <a:spcAft>
                <a:spcPts val="0"/>
              </a:spcAft>
              <a:defRPr sz="1200">
                <a:solidFill>
                  <a:prstClr val="white"/>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3D5B703-056F-479E-8893-F9987D298CDC}" type="slidenum">
              <a:rPr lang="en-GB" smtClean="0"/>
              <a:pPr/>
              <a:t>9</a:t>
            </a:fld>
            <a:endParaRPr lang="en-GB"/>
          </a:p>
        </p:txBody>
      </p:sp>
      <p:sp>
        <p:nvSpPr>
          <p:cNvPr id="12" name="TextBox 15">
            <a:extLst>
              <a:ext uri="{FF2B5EF4-FFF2-40B4-BE49-F238E27FC236}">
                <a16:creationId xmlns:a16="http://schemas.microsoft.com/office/drawing/2014/main" id="{CAF8585E-2E97-409E-A897-49B00E3159B3}"/>
              </a:ext>
            </a:extLst>
          </p:cNvPr>
          <p:cNvSpPr txBox="1"/>
          <p:nvPr/>
        </p:nvSpPr>
        <p:spPr>
          <a:xfrm>
            <a:off x="2276278" y="85968"/>
            <a:ext cx="7146568" cy="1200329"/>
          </a:xfrm>
          <a:prstGeom prst="rect">
            <a:avLst/>
          </a:prstGeom>
          <a:solidFill>
            <a:schemeClr val="bg1"/>
          </a:solidFill>
        </p:spPr>
        <p:txBody>
          <a:bodyPr wrap="square" rtlCol="0">
            <a:spAutoFit/>
          </a:bodyPr>
          <a:lstStyle/>
          <a:p>
            <a:pPr algn="ctr" defTabSz="457200" fontAlgn="base">
              <a:spcBef>
                <a:spcPct val="0"/>
              </a:spcBef>
              <a:spcAft>
                <a:spcPct val="0"/>
              </a:spcAft>
            </a:pPr>
            <a:r>
              <a:rPr lang="fr-CH" sz="3600" b="1" dirty="0">
                <a:solidFill>
                  <a:srgbClr val="F49B03"/>
                </a:solidFill>
                <a:latin typeface="+mj-lt"/>
                <a:ea typeface="+mj-ea"/>
                <a:cs typeface="+mj-cs"/>
              </a:rPr>
              <a:t>Le virus sauvage de la polio disparait  mais…  </a:t>
            </a:r>
            <a:endParaRPr lang="en-US" sz="3600" b="1" dirty="0">
              <a:solidFill>
                <a:srgbClr val="F49B03"/>
              </a:solidFill>
              <a:latin typeface="+mj-lt"/>
              <a:ea typeface="+mj-ea"/>
              <a:cs typeface="+mj-cs"/>
            </a:endParaRPr>
          </a:p>
        </p:txBody>
      </p:sp>
      <p:pic>
        <p:nvPicPr>
          <p:cNvPr id="4" name="Image 3">
            <a:extLst>
              <a:ext uri="{FF2B5EF4-FFF2-40B4-BE49-F238E27FC236}">
                <a16:creationId xmlns:a16="http://schemas.microsoft.com/office/drawing/2014/main" id="{F3738304-6514-4B88-F913-2F64136EDDE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06716" y="5488496"/>
            <a:ext cx="878027" cy="1115508"/>
          </a:xfrm>
          <a:prstGeom prst="rect">
            <a:avLst/>
          </a:prstGeom>
        </p:spPr>
      </p:pic>
      <p:pic>
        <p:nvPicPr>
          <p:cNvPr id="6" name="Image 5">
            <a:extLst>
              <a:ext uri="{FF2B5EF4-FFF2-40B4-BE49-F238E27FC236}">
                <a16:creationId xmlns:a16="http://schemas.microsoft.com/office/drawing/2014/main" id="{F8C0104B-EAAA-E9EB-B93C-8AD2DA4C7E9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59169" y="0"/>
            <a:ext cx="2116636" cy="823136"/>
          </a:xfrm>
          <a:prstGeom prst="rect">
            <a:avLst/>
          </a:prstGeom>
        </p:spPr>
      </p:pic>
    </p:spTree>
    <p:extLst>
      <p:ext uri="{BB962C8B-B14F-4D97-AF65-F5344CB8AC3E}">
        <p14:creationId xmlns:p14="http://schemas.microsoft.com/office/powerpoint/2010/main" val="16754475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heme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EuropeanCommissionBreakfastMeetingMichelZaffran rev">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Theme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Rotary Palette">
      <a:dk1>
        <a:srgbClr val="01B4E7"/>
      </a:dk1>
      <a:lt1>
        <a:srgbClr val="FFFFFF"/>
      </a:lt1>
      <a:dk2>
        <a:srgbClr val="01B4E7"/>
      </a:dk2>
      <a:lt2>
        <a:srgbClr val="FFFFFF"/>
      </a:lt2>
      <a:accent1>
        <a:srgbClr val="F7A81B"/>
      </a:accent1>
      <a:accent2>
        <a:srgbClr val="D91B5C"/>
      </a:accent2>
      <a:accent3>
        <a:srgbClr val="009999"/>
      </a:accent3>
      <a:accent4>
        <a:srgbClr val="872175"/>
      </a:accent4>
      <a:accent5>
        <a:srgbClr val="FF7600"/>
      </a:accent5>
      <a:accent6>
        <a:srgbClr val="005DAA"/>
      </a:accent6>
      <a:hlink>
        <a:srgbClr val="17458F"/>
      </a:hlink>
      <a:folHlink>
        <a:srgbClr val="C9DEE9"/>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_EuropeanCommissionBreakfastMeetingMichelZaffran rev">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E76742D4DB68A489532F5BCF3A877B0" ma:contentTypeVersion="13" ma:contentTypeDescription="Create a new document." ma:contentTypeScope="" ma:versionID="2700e56b8c4cd760f39348a912510312">
  <xsd:schema xmlns:xsd="http://www.w3.org/2001/XMLSchema" xmlns:xs="http://www.w3.org/2001/XMLSchema" xmlns:p="http://schemas.microsoft.com/office/2006/metadata/properties" xmlns:ns3="135c21ef-598c-46b5-b05c-090a48a494fa" xmlns:ns4="f2f76fcc-f37a-469d-ab23-63e3147ee15d" targetNamespace="http://schemas.microsoft.com/office/2006/metadata/properties" ma:root="true" ma:fieldsID="a1bc8509bab227bf93fc76f478fd0d90" ns3:_="" ns4:_="">
    <xsd:import namespace="135c21ef-598c-46b5-b05c-090a48a494fa"/>
    <xsd:import namespace="f2f76fcc-f37a-469d-ab23-63e3147ee15d"/>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5c21ef-598c-46b5-b05c-090a48a494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2f76fcc-f37a-469d-ab23-63e3147ee15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92C8B9A-9624-4A89-93FB-D54F1DAD488F}">
  <ds:schemaRefs>
    <ds:schemaRef ds:uri="http://schemas.microsoft.com/sharepoint/v3/contenttype/forms"/>
  </ds:schemaRefs>
</ds:datastoreItem>
</file>

<file path=customXml/itemProps2.xml><?xml version="1.0" encoding="utf-8"?>
<ds:datastoreItem xmlns:ds="http://schemas.openxmlformats.org/officeDocument/2006/customXml" ds:itemID="{C76132B7-51BF-4723-9EE9-E778703EE2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35c21ef-598c-46b5-b05c-090a48a494fa"/>
    <ds:schemaRef ds:uri="f2f76fcc-f37a-469d-ab23-63e3147ee15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CFD0705-A8FA-450D-9F92-D808905789A5}">
  <ds:schemaRefs>
    <ds:schemaRef ds:uri="http://www.w3.org/XML/1998/namespace"/>
    <ds:schemaRef ds:uri="http://schemas.microsoft.com/office/2006/metadata/properties"/>
    <ds:schemaRef ds:uri="http://schemas.openxmlformats.org/package/2006/metadata/core-properties"/>
    <ds:schemaRef ds:uri="http://purl.org/dc/elements/1.1/"/>
    <ds:schemaRef ds:uri="http://purl.org/dc/dcmitype/"/>
    <ds:schemaRef ds:uri="135c21ef-598c-46b5-b05c-090a48a494fa"/>
    <ds:schemaRef ds:uri="http://schemas.microsoft.com/office/2006/documentManagement/types"/>
    <ds:schemaRef ds:uri="http://schemas.microsoft.com/office/infopath/2007/PartnerControls"/>
    <ds:schemaRef ds:uri="f2f76fcc-f37a-469d-ab23-63e3147ee15d"/>
    <ds:schemaRef ds:uri="http://purl.org/dc/terms/"/>
  </ds:schemaRefs>
</ds:datastoreItem>
</file>

<file path=docProps/app.xml><?xml version="1.0" encoding="utf-8"?>
<Properties xmlns="http://schemas.openxmlformats.org/officeDocument/2006/extended-properties" xmlns:vt="http://schemas.openxmlformats.org/officeDocument/2006/docPropsVTypes">
  <TotalTime>0</TotalTime>
  <Words>1511</Words>
  <Application>Microsoft Office PowerPoint</Application>
  <PresentationFormat>Grand écran</PresentationFormat>
  <Paragraphs>201</Paragraphs>
  <Slides>23</Slides>
  <Notes>16</Notes>
  <HiddenSlides>0</HiddenSlides>
  <MMClips>0</MMClips>
  <ScaleCrop>false</ScaleCrop>
  <HeadingPairs>
    <vt:vector size="8" baseType="variant">
      <vt:variant>
        <vt:lpstr>Polices utilisées</vt:lpstr>
      </vt:variant>
      <vt:variant>
        <vt:i4>11</vt:i4>
      </vt:variant>
      <vt:variant>
        <vt:lpstr>Thème</vt:lpstr>
      </vt:variant>
      <vt:variant>
        <vt:i4>8</vt:i4>
      </vt:variant>
      <vt:variant>
        <vt:lpstr>Serveurs OLE incorporés</vt:lpstr>
      </vt:variant>
      <vt:variant>
        <vt:i4>1</vt:i4>
      </vt:variant>
      <vt:variant>
        <vt:lpstr>Titres des diapositives</vt:lpstr>
      </vt:variant>
      <vt:variant>
        <vt:i4>23</vt:i4>
      </vt:variant>
    </vt:vector>
  </HeadingPairs>
  <TitlesOfParts>
    <vt:vector size="43" baseType="lpstr">
      <vt:lpstr>Arial</vt:lpstr>
      <vt:lpstr>Arial (W1)</vt:lpstr>
      <vt:lpstr>Arial Black</vt:lpstr>
      <vt:lpstr>Avenir Next LT Pro</vt:lpstr>
      <vt:lpstr>Calibri</vt:lpstr>
      <vt:lpstr>Calibri Light</vt:lpstr>
      <vt:lpstr>Corbel</vt:lpstr>
      <vt:lpstr>D-DIN</vt:lpstr>
      <vt:lpstr>DIN Next LT Pro Bold Condensed</vt:lpstr>
      <vt:lpstr>Times New Roman</vt:lpstr>
      <vt:lpstr>Wingdings</vt:lpstr>
      <vt:lpstr>2_Office Theme</vt:lpstr>
      <vt:lpstr>Theme1</vt:lpstr>
      <vt:lpstr>EuropeanCommissionBreakfastMeetingMichelZaffran rev</vt:lpstr>
      <vt:lpstr>1_Theme1</vt:lpstr>
      <vt:lpstr>Office Theme</vt:lpstr>
      <vt:lpstr>3_Office Theme</vt:lpstr>
      <vt:lpstr>1_EuropeanCommissionBreakfastMeetingMichelZaffran rev</vt:lpstr>
      <vt:lpstr>1_Office Theme</vt:lpstr>
      <vt:lpstr>think-cell Slide</vt:lpstr>
      <vt:lpstr>Présentation PowerPoint</vt:lpstr>
      <vt:lpstr>Présentation PowerPoint</vt:lpstr>
      <vt:lpstr>Présentation PowerPoint</vt:lpstr>
      <vt:lpstr>1985</vt:lpstr>
      <vt:lpstr>Des Progrès Considérables  </vt:lpstr>
      <vt:lpstr>Présentation PowerPoint</vt:lpstr>
      <vt:lpstr>Présentation PowerPoint</vt:lpstr>
      <vt:lpstr>Présentation PowerPoint</vt:lpstr>
      <vt:lpstr>Présentation PowerPoint</vt:lpstr>
      <vt:lpstr>Présentation PowerPoint</vt:lpstr>
      <vt:lpstr>Le nouveau vaccin oral (nVPO2)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Levons des fonds</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AFFRAN, Michel Jose</dc:creator>
  <cp:lastModifiedBy>Michel Zaffran</cp:lastModifiedBy>
  <cp:revision>17</cp:revision>
  <dcterms:created xsi:type="dcterms:W3CDTF">2020-09-09T13:43:30Z</dcterms:created>
  <dcterms:modified xsi:type="dcterms:W3CDTF">2022-10-19T07:3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76742D4DB68A489532F5BCF3A877B0</vt:lpwstr>
  </property>
</Properties>
</file>